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5" r:id="rId5"/>
    <p:sldMasterId id="2147483743" r:id="rId6"/>
    <p:sldMasterId id="2147483755" r:id="rId7"/>
  </p:sldMasterIdLst>
  <p:notesMasterIdLst>
    <p:notesMasterId r:id="rId16"/>
  </p:notesMasterIdLst>
  <p:sldIdLst>
    <p:sldId id="313" r:id="rId8"/>
    <p:sldId id="2141410599" r:id="rId9"/>
    <p:sldId id="2141410603" r:id="rId10"/>
    <p:sldId id="259" r:id="rId11"/>
    <p:sldId id="261" r:id="rId12"/>
    <p:sldId id="266" r:id="rId13"/>
    <p:sldId id="2072" r:id="rId14"/>
    <p:sldId id="2141410604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EC8C3-E718-4F28-A3DD-6B909E2F9326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6B4205-2333-4C7E-88B8-464E83EEA4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577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E8D0E3-791A-45FF-AF8E-E5EB0840E7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391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9.xml"/><Relationship Id="rId7" Type="http://schemas.openxmlformats.org/officeDocument/2006/relationships/image" Target="../media/image1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6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7.emf"/><Relationship Id="rId4" Type="http://schemas.openxmlformats.org/officeDocument/2006/relationships/tags" Target="../tags/tag50.xml"/><Relationship Id="rId9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99392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844825"/>
            <a:ext cx="10363200" cy="14700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962189"/>
            <a:ext cx="8534400" cy="792088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5489848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684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19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Standar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007533" y="1125538"/>
            <a:ext cx="6316800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7665600" y="0"/>
            <a:ext cx="4526400" cy="5853600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638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675B5BE-1D22-4060-A1E8-A67668853E7F}"/>
              </a:ext>
            </a:extLst>
          </p:cNvPr>
          <p:cNvSpPr/>
          <p:nvPr userDrawn="1"/>
        </p:nvSpPr>
        <p:spPr bwMode="gray">
          <a:xfrm>
            <a:off x="2699656" y="870857"/>
            <a:ext cx="9492344" cy="45393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DBEE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3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8A2E0C-4DC8-4CD2-A123-649317E5B1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846285" y="1903716"/>
            <a:ext cx="7696701" cy="135421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lang="x-none" sz="4400" b="1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846285" y="3437788"/>
            <a:ext cx="769670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2001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3846286" y="4335545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ocument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3846286" y="4641933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446AC8-9F05-47D8-967B-4948A7D620B6}"/>
              </a:ext>
            </a:extLst>
          </p:cNvPr>
          <p:cNvSpPr>
            <a:spLocks/>
          </p:cNvSpPr>
          <p:nvPr userDrawn="1"/>
        </p:nvSpPr>
        <p:spPr bwMode="gray">
          <a:xfrm>
            <a:off x="0" y="-27384"/>
            <a:ext cx="3556000" cy="5992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36C2570-EE6B-4565-AD75-B52E65403955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77EC048-F3B9-4475-B855-081554A6C555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2AC1C6A-A970-442F-8AA9-F0118482BF79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8830331-61EC-45A0-BC05-93F4169FC707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B75CD6E-20E4-40B1-A7A3-D05DC8E9E321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D1DC820-8441-49F6-95C3-B575A2159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" b="50"/>
          <a:stretch/>
        </p:blipFill>
        <p:spPr bwMode="gray">
          <a:xfrm>
            <a:off x="623393" y="6108272"/>
            <a:ext cx="2754284" cy="63309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4A738D0-C560-4C29-94CE-95B6221F6386}"/>
              </a:ext>
            </a:extLst>
          </p:cNvPr>
          <p:cNvSpPr/>
          <p:nvPr userDrawn="1"/>
        </p:nvSpPr>
        <p:spPr bwMode="gray">
          <a:xfrm>
            <a:off x="2699656" y="870857"/>
            <a:ext cx="856344" cy="45393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4244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7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675B5BE-1D22-4060-A1E8-A67668853E7F}"/>
              </a:ext>
            </a:extLst>
          </p:cNvPr>
          <p:cNvSpPr/>
          <p:nvPr userDrawn="1"/>
        </p:nvSpPr>
        <p:spPr bwMode="gray">
          <a:xfrm>
            <a:off x="2699656" y="870857"/>
            <a:ext cx="9492344" cy="45393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3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8A2E0C-4DC8-4CD2-A123-649317E5B1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846285" y="1903716"/>
            <a:ext cx="7696701" cy="135421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lang="x-none" sz="4400" b="1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846285" y="3437788"/>
            <a:ext cx="769670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2001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3846286" y="4335545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ocument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3846286" y="4641933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36C2570-EE6B-4565-AD75-B52E65403955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77EC048-F3B9-4475-B855-081554A6C555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2AC1C6A-A970-442F-8AA9-F0118482BF79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8830331-61EC-45A0-BC05-93F4169FC707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B75CD6E-20E4-40B1-A7A3-D05DC8E9E321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D1DC820-8441-49F6-95C3-B575A2159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" b="50"/>
          <a:stretch/>
        </p:blipFill>
        <p:spPr bwMode="gray">
          <a:xfrm>
            <a:off x="623393" y="6108272"/>
            <a:ext cx="2754284" cy="63309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4A738D0-C560-4C29-94CE-95B6221F6386}"/>
              </a:ext>
            </a:extLst>
          </p:cNvPr>
          <p:cNvSpPr/>
          <p:nvPr userDrawn="1"/>
        </p:nvSpPr>
        <p:spPr bwMode="gray">
          <a:xfrm>
            <a:off x="2699656" y="870857"/>
            <a:ext cx="856344" cy="45393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C4BF1E6-2CAC-491E-94E0-E3B659DFB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73"/>
          <a:stretch/>
        </p:blipFill>
        <p:spPr>
          <a:xfrm>
            <a:off x="0" y="-27384"/>
            <a:ext cx="3556000" cy="5992754"/>
          </a:xfrm>
          <a:custGeom>
            <a:avLst/>
            <a:gdLst>
              <a:gd name="connsiteX0" fmla="*/ 0 w 3556000"/>
              <a:gd name="connsiteY0" fmla="*/ 0 h 5992754"/>
              <a:gd name="connsiteX1" fmla="*/ 3556000 w 3556000"/>
              <a:gd name="connsiteY1" fmla="*/ 0 h 5992754"/>
              <a:gd name="connsiteX2" fmla="*/ 3556000 w 3556000"/>
              <a:gd name="connsiteY2" fmla="*/ 5992754 h 5992754"/>
              <a:gd name="connsiteX3" fmla="*/ 0 w 3556000"/>
              <a:gd name="connsiteY3" fmla="*/ 5992754 h 599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6000" h="5992754">
                <a:moveTo>
                  <a:pt x="0" y="0"/>
                </a:moveTo>
                <a:lnTo>
                  <a:pt x="3556000" y="0"/>
                </a:lnTo>
                <a:lnTo>
                  <a:pt x="3556000" y="5992754"/>
                </a:lnTo>
                <a:lnTo>
                  <a:pt x="0" y="5992754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905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7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4852875-E308-4DD1-BE9D-7E5880823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685239"/>
            <a:ext cx="109728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4430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4852875-E308-4DD1-BE9D-7E5880823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pl-PL" sz="8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CC4FC3-1C5D-44CD-BF5C-5BD34AF5B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5400"/>
            <a:ext cx="12192001" cy="6053169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609600" y="2367354"/>
            <a:ext cx="10972800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8800"/>
            </a:lvl1pPr>
          </a:lstStyle>
          <a:p>
            <a:pPr lvl="0" latinLnBrk="0"/>
            <a:r>
              <a:rPr lang="pl-PL" dirty="0"/>
              <a:t>Chapter 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24169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375508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919812-DAE1-4695-B459-91C86F20F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746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99392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844827"/>
            <a:ext cx="10363200" cy="14700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962189"/>
            <a:ext cx="8534400" cy="792088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5489848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86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891" y="116632"/>
            <a:ext cx="10972800" cy="1143000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6689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891" y="116632"/>
            <a:ext cx="1097280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743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367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5717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366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35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74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59008" cy="779686"/>
          </a:xfrm>
        </p:spPr>
        <p:txBody>
          <a:bodyPr anchor="b"/>
          <a:lstStyle>
            <a:lvl1pPr algn="l"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268760"/>
            <a:ext cx="6815667" cy="48574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268760"/>
            <a:ext cx="4011084" cy="485740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81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58194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7306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352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0"/>
          </p:nvPr>
        </p:nvSpPr>
        <p:spPr>
          <a:xfrm>
            <a:off x="911425" y="1124747"/>
            <a:ext cx="10177131" cy="5040559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9188"/>
            <a:ext cx="10972800" cy="643508"/>
          </a:xfrm>
          <a:prstGeom prst="rect">
            <a:avLst/>
          </a:prstGeom>
        </p:spPr>
        <p:txBody>
          <a:bodyPr anchor="ctr" anchorCtr="0"/>
          <a:lstStyle>
            <a:lvl1pPr marL="0" algn="l" defTabSz="685800" rtl="0" eaLnBrk="1" latinLnBrk="0" hangingPunct="1">
              <a:spcBef>
                <a:spcPct val="0"/>
              </a:spcBef>
              <a:buNone/>
              <a:defRPr lang="en-GB" sz="2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6636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99392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844827"/>
            <a:ext cx="10363200" cy="14700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962189"/>
            <a:ext cx="8534400" cy="792088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5489848"/>
            <a:ext cx="12192000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872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643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891" y="116632"/>
            <a:ext cx="10972800" cy="1143000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 b="0"/>
            </a:lvl1pPr>
            <a:lvl2pPr>
              <a:defRPr sz="1500" b="0"/>
            </a:lvl2pPr>
            <a:lvl3pPr>
              <a:defRPr sz="1350" b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2852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1200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2691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2597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5875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2277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59008" cy="779686"/>
          </a:xfrm>
        </p:spPr>
        <p:txBody>
          <a:bodyPr anchor="b"/>
          <a:lstStyle>
            <a:lvl1pPr algn="l"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268760"/>
            <a:ext cx="6815667" cy="48574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268760"/>
            <a:ext cx="4011084" cy="485740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471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58194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5617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354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038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70C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70C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712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706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782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59008" cy="779686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268760"/>
            <a:ext cx="6815667" cy="48574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268760"/>
            <a:ext cx="4011084" cy="485740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24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58194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38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image" Target="../media/image1.jpe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41" Type="http://schemas.openxmlformats.org/officeDocument/2006/relationships/tags" Target="../tags/tag3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19819" y="602128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-27384"/>
            <a:ext cx="12192000" cy="1196817"/>
          </a:xfrm>
          <a:prstGeom prst="rect">
            <a:avLst/>
          </a:prstGeom>
          <a:solidFill>
            <a:srgbClr val="1E7F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10" name="TextBox 9"/>
            <p:cNvSpPr txBox="1"/>
            <p:nvPr/>
          </p:nvSpPr>
          <p:spPr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3" y="6108272"/>
            <a:ext cx="2754284" cy="6330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-12288" y="6021288"/>
            <a:ext cx="1220428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Segoe Condensed" panose="020B0606040200020203" pitchFamily="34" charset="0"/>
              </a:defRPr>
            </a:lvl1pPr>
          </a:lstStyle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52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bg1"/>
          </a:solidFill>
          <a:latin typeface="Segoe Condensed" panose="020B0606040200020203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>
            <a:extLst>
              <a:ext uri="{FF2B5EF4-FFF2-40B4-BE49-F238E27FC236}">
                <a16:creationId xmlns:a16="http://schemas.microsoft.com/office/drawing/2014/main" id="{B7BEEE36-EBC5-45F7-B3DE-398CBD065D58}"/>
              </a:ext>
            </a:extLst>
          </p:cNvPr>
          <p:cNvSpPr>
            <a:spLocks/>
          </p:cNvSpPr>
          <p:nvPr userDrawn="1"/>
        </p:nvSpPr>
        <p:spPr bwMode="gray">
          <a:xfrm>
            <a:off x="0" y="-27384"/>
            <a:ext cx="12192000" cy="119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2"/>
          <a:ext cx="215978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5978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2"/>
            <a:ext cx="215978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685239"/>
            <a:ext cx="109728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609600" y="702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>
                <a:schemeClr val="bg1"/>
              </a:buClr>
              <a:tabLst>
                <a:tab pos="361950" algn="l"/>
              </a:tabLst>
            </a:pPr>
            <a:r>
              <a:rPr lang="en-US" sz="1000" cap="all" baseline="0" dirty="0">
                <a:solidFill>
                  <a:schemeClr val="bg1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609600" y="1198769"/>
            <a:ext cx="10972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361950" algn="l"/>
              </a:tabLst>
              <a:defRPr lang="x-none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2471775"/>
            <a:ext cx="10972800" cy="12311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609600" y="1851367"/>
            <a:ext cx="2227807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extLst/>
          </p:spPr>
          <p:txBody>
            <a:bodyPr vert="horz" wrap="square" lIns="0" tIns="0" rIns="0" bIns="18288" rtlCol="0" anchor="b">
              <a:spAutoFit/>
            </a:bodyPr>
            <a:lstStyle/>
            <a:p>
              <a:pPr marL="0" lvl="0" indent="0" defTabSz="913572" eaLnBrk="1" latinLnBrk="0" hangingPunct="1">
                <a:buClr>
                  <a:schemeClr val="tx1"/>
                </a:buClr>
                <a:buSzPct val="100000"/>
                <a:buFontTx/>
                <a:buNone/>
              </a:pPr>
              <a:r>
                <a:rPr lang="en-US" sz="1600" b="1" baseline="0" dirty="0">
                  <a:latin typeface="+mn-lt"/>
                </a:rPr>
                <a:t>Title</a:t>
              </a:r>
            </a:p>
            <a:p>
              <a:pPr marL="0" lvl="0" indent="0" defTabSz="913572" eaLnBrk="1" latinLnBrk="0" hangingPunct="1">
                <a:buClr>
                  <a:schemeClr val="tx1"/>
                </a:buClr>
                <a:buSzPct val="100000"/>
                <a:buFontTx/>
                <a:buNone/>
              </a:pPr>
              <a:r>
                <a:rPr lang="en-US" sz="1600" baseline="0" dirty="0">
                  <a:latin typeface="+mn-lt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 userDrawn="1"/>
        </p:nvSpPr>
        <p:spPr bwMode="gray">
          <a:xfrm>
            <a:off x="11273054" y="6108272"/>
            <a:ext cx="309346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gray">
          <a:xfrm>
            <a:off x="609600" y="5836400"/>
            <a:ext cx="109728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 lang="x-none"/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gray">
          <a:xfrm>
            <a:off x="3536949" y="6146663"/>
            <a:ext cx="543083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/>
          <a:p>
            <a:pPr marL="427038" indent="-427038" defTabSz="913572">
              <a:tabLst/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08" name="Sticker" hidden="1"/>
          <p:cNvGrpSpPr/>
          <p:nvPr userDrawn="1"/>
        </p:nvGrpSpPr>
        <p:grpSpPr bwMode="gray">
          <a:xfrm>
            <a:off x="10915377" y="1198769"/>
            <a:ext cx="667023" cy="241447"/>
            <a:chOff x="8073926" y="285750"/>
            <a:chExt cx="666849" cy="241447"/>
          </a:xfrm>
        </p:grpSpPr>
        <p:sp>
          <p:nvSpPr>
            <p:cNvPr id="109" name="StickerRectangle"/>
            <p:cNvSpPr>
              <a:spLocks noChangeArrowheads="1"/>
            </p:cNvSpPr>
            <p:nvPr/>
          </p:nvSpPr>
          <p:spPr bwMode="gray">
            <a:xfrm>
              <a:off x="8073926" y="285750"/>
              <a:ext cx="666849" cy="2414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110" name="AutoShape 32"/>
            <p:cNvCxnSpPr>
              <a:cxnSpLocks noChangeShapeType="1"/>
              <a:stCxn id="109" idx="4"/>
              <a:endCxn id="109" idx="6"/>
            </p:cNvCxnSpPr>
            <p:nvPr/>
          </p:nvCxnSpPr>
          <p:spPr bwMode="gray">
            <a:xfrm>
              <a:off x="8073926" y="527197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1" name="AutoShape 32"/>
            <p:cNvCxnSpPr>
              <a:cxnSpLocks noChangeShapeType="1"/>
              <a:stCxn id="109" idx="2"/>
              <a:endCxn id="109" idx="0"/>
            </p:cNvCxnSpPr>
            <p:nvPr userDrawn="1"/>
          </p:nvCxnSpPr>
          <p:spPr bwMode="gray">
            <a:xfrm>
              <a:off x="8073926" y="285750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DirArrow" hidden="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5400000">
            <a:off x="5553846" y="2997926"/>
            <a:ext cx="3090672" cy="34349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grpSp>
        <p:nvGrpSpPr>
          <p:cNvPr id="68" name="Flow" hidden="1"/>
          <p:cNvGrpSpPr>
            <a:grpSpLocks/>
          </p:cNvGrpSpPr>
          <p:nvPr userDrawn="1">
            <p:custDataLst>
              <p:tags r:id="rId12"/>
            </p:custDataLst>
          </p:nvPr>
        </p:nvGrpSpPr>
        <p:grpSpPr bwMode="gray">
          <a:xfrm>
            <a:off x="1948371" y="3395577"/>
            <a:ext cx="1830388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69" name="Freeform 68"/>
            <p:cNvSpPr/>
            <p:nvPr>
              <p:custDataLst>
                <p:tags r:id="rId4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TextBox 69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5969000" y="3187700"/>
              <a:ext cx="1524000" cy="793223"/>
            </a:xfrm>
            <a:prstGeom prst="rect">
              <a:avLst/>
            </a:prstGeom>
            <a:extLst/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72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54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5760" lvl="2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548640" lvl="3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31520" lvl="4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5pPr>
              <a:lvl6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</p:grpSp>
      <p:sp>
        <p:nvSpPr>
          <p:cNvPr id="100" name="Oval" hidden="1"/>
          <p:cNvSpPr txBox="1">
            <a:spLocks/>
          </p:cNvSpPr>
          <p:nvPr userDrawn="1"/>
        </p:nvSpPr>
        <p:spPr bwMode="gray">
          <a:xfrm>
            <a:off x="1954973" y="1624338"/>
            <a:ext cx="1525588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vert="horz" wrap="square" lIns="73152" tIns="73152" rIns="73152" bIns="73152" rtlCol="0" anchor="ctr">
            <a:noAutofit/>
          </a:bodyPr>
          <a:lstStyle>
            <a:defPPr>
              <a:defRPr lang="en-US"/>
            </a:defPPr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31520" lvl="4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0" algn="ctr"/>
            <a:r>
              <a:rPr lang="en-US" dirty="0"/>
              <a:t>Text</a:t>
            </a:r>
          </a:p>
        </p:txBody>
      </p:sp>
      <p:sp>
        <p:nvSpPr>
          <p:cNvPr id="101" name="Body3" hidden="1"/>
          <p:cNvSpPr txBox="1">
            <a:spLocks/>
          </p:cNvSpPr>
          <p:nvPr userDrawn="1"/>
        </p:nvSpPr>
        <p:spPr bwMode="gray">
          <a:xfrm>
            <a:off x="3591714" y="1624337"/>
            <a:ext cx="1525588" cy="15240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vert="horz" wrap="square" lIns="73152" tIns="73152" rIns="73152" bIns="73152" rtlCol="0">
            <a:no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31520" lvl="4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2" name="RoundedRectangle" hidden="1"/>
          <p:cNvSpPr txBox="1">
            <a:spLocks/>
          </p:cNvSpPr>
          <p:nvPr userDrawn="1"/>
        </p:nvSpPr>
        <p:spPr bwMode="gray">
          <a:xfrm>
            <a:off x="5286771" y="1624338"/>
            <a:ext cx="1525588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vert="horz" wrap="square" lIns="73152" tIns="73152" rIns="73152" bIns="73152" rtlCol="0">
            <a:noAutofit/>
          </a:bodyPr>
          <a:lstStyle>
            <a:defPPr>
              <a:defRPr lang="en-US"/>
            </a:defPPr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31520" lvl="4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103" name="Arrow" hidden="1"/>
          <p:cNvSpPr txBox="1">
            <a:spLocks/>
          </p:cNvSpPr>
          <p:nvPr userDrawn="1"/>
        </p:nvSpPr>
        <p:spPr bwMode="gray">
          <a:xfrm>
            <a:off x="1946174" y="4362178"/>
            <a:ext cx="1830388" cy="91440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vert="horz" wrap="square" lIns="73152" tIns="73152" rIns="73152" bIns="73152" rtlCol="0" anchor="ctr">
            <a:no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31520" lvl="4" indent="-182880" defTabSz="913572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b="1" dirty="0"/>
              <a:t>Text</a:t>
            </a:r>
          </a:p>
        </p:txBody>
      </p:sp>
      <p:sp>
        <p:nvSpPr>
          <p:cNvPr id="76" name="Bracket" hidden="1">
            <a:extLst>
              <a:ext uri="{FF2B5EF4-FFF2-40B4-BE49-F238E27FC236}">
                <a16:creationId xmlns:a16="http://schemas.microsoft.com/office/drawing/2014/main" id="{03378CBE-FB83-478F-9CFD-3D41B39200BE}"/>
              </a:ext>
            </a:extLst>
          </p:cNvPr>
          <p:cNvSpPr>
            <a:spLocks noChangeAspect="1"/>
          </p:cNvSpPr>
          <p:nvPr userDrawn="1">
            <p:custDataLst>
              <p:tags r:id="rId13"/>
            </p:custDataLst>
          </p:nvPr>
        </p:nvSpPr>
        <p:spPr bwMode="gray">
          <a:xfrm>
            <a:off x="6514902" y="3395577"/>
            <a:ext cx="190526" cy="1651001"/>
          </a:xfrm>
          <a:custGeom>
            <a:avLst/>
            <a:gdLst>
              <a:gd name="connsiteX0" fmla="*/ 0 w 237731"/>
              <a:gd name="connsiteY0" fmla="*/ 0 h 2667000"/>
              <a:gd name="connsiteX1" fmla="*/ 174231 w 237731"/>
              <a:gd name="connsiteY1" fmla="*/ 1016000 h 2667000"/>
              <a:gd name="connsiteX2" fmla="*/ 174231 w 237731"/>
              <a:gd name="connsiteY2" fmla="*/ 1778000 h 2667000"/>
              <a:gd name="connsiteX3" fmla="*/ 237731 w 237731"/>
              <a:gd name="connsiteY3" fmla="*/ 1841500 h 2667000"/>
              <a:gd name="connsiteX4" fmla="*/ 174231 w 237731"/>
              <a:gd name="connsiteY4" fmla="*/ 1905000 h 2667000"/>
              <a:gd name="connsiteX5" fmla="*/ 174231 w 237731"/>
              <a:gd name="connsiteY5" fmla="*/ 2667000 h 2667000"/>
              <a:gd name="connsiteX6" fmla="*/ 47231 w 237731"/>
              <a:gd name="connsiteY6" fmla="*/ 2667000 h 2667000"/>
              <a:gd name="connsiteX0" fmla="*/ 0 w 237731"/>
              <a:gd name="connsiteY0" fmla="*/ 0 h 2667000"/>
              <a:gd name="connsiteX1" fmla="*/ 25025 w 237731"/>
              <a:gd name="connsiteY1" fmla="*/ 0 h 2667000"/>
              <a:gd name="connsiteX2" fmla="*/ 174231 w 237731"/>
              <a:gd name="connsiteY2" fmla="*/ 1778000 h 2667000"/>
              <a:gd name="connsiteX3" fmla="*/ 237731 w 237731"/>
              <a:gd name="connsiteY3" fmla="*/ 1841500 h 2667000"/>
              <a:gd name="connsiteX4" fmla="*/ 174231 w 237731"/>
              <a:gd name="connsiteY4" fmla="*/ 1905000 h 2667000"/>
              <a:gd name="connsiteX5" fmla="*/ 174231 w 237731"/>
              <a:gd name="connsiteY5" fmla="*/ 2667000 h 2667000"/>
              <a:gd name="connsiteX6" fmla="*/ 47231 w 237731"/>
              <a:gd name="connsiteY6" fmla="*/ 2667000 h 2667000"/>
              <a:gd name="connsiteX0" fmla="*/ 0 w 237731"/>
              <a:gd name="connsiteY0" fmla="*/ 0 h 2667000"/>
              <a:gd name="connsiteX1" fmla="*/ 25025 w 237731"/>
              <a:gd name="connsiteY1" fmla="*/ 0 h 2667000"/>
              <a:gd name="connsiteX2" fmla="*/ 25025 w 237731"/>
              <a:gd name="connsiteY2" fmla="*/ 762000 h 2667000"/>
              <a:gd name="connsiteX3" fmla="*/ 237731 w 237731"/>
              <a:gd name="connsiteY3" fmla="*/ 1841500 h 2667000"/>
              <a:gd name="connsiteX4" fmla="*/ 174231 w 237731"/>
              <a:gd name="connsiteY4" fmla="*/ 1905000 h 2667000"/>
              <a:gd name="connsiteX5" fmla="*/ 174231 w 237731"/>
              <a:gd name="connsiteY5" fmla="*/ 2667000 h 2667000"/>
              <a:gd name="connsiteX6" fmla="*/ 47231 w 237731"/>
              <a:gd name="connsiteY6" fmla="*/ 2667000 h 2667000"/>
              <a:gd name="connsiteX0" fmla="*/ 0 w 174231"/>
              <a:gd name="connsiteY0" fmla="*/ 0 h 2667000"/>
              <a:gd name="connsiteX1" fmla="*/ 25025 w 174231"/>
              <a:gd name="connsiteY1" fmla="*/ 0 h 2667000"/>
              <a:gd name="connsiteX2" fmla="*/ 25025 w 174231"/>
              <a:gd name="connsiteY2" fmla="*/ 762000 h 2667000"/>
              <a:gd name="connsiteX3" fmla="*/ 37537 w 174231"/>
              <a:gd name="connsiteY3" fmla="*/ 825500 h 2667000"/>
              <a:gd name="connsiteX4" fmla="*/ 174231 w 174231"/>
              <a:gd name="connsiteY4" fmla="*/ 1905000 h 2667000"/>
              <a:gd name="connsiteX5" fmla="*/ 174231 w 174231"/>
              <a:gd name="connsiteY5" fmla="*/ 2667000 h 2667000"/>
              <a:gd name="connsiteX6" fmla="*/ 47231 w 174231"/>
              <a:gd name="connsiteY6" fmla="*/ 2667000 h 2667000"/>
              <a:gd name="connsiteX0" fmla="*/ 0 w 174231"/>
              <a:gd name="connsiteY0" fmla="*/ 0 h 2667000"/>
              <a:gd name="connsiteX1" fmla="*/ 25025 w 174231"/>
              <a:gd name="connsiteY1" fmla="*/ 0 h 2667000"/>
              <a:gd name="connsiteX2" fmla="*/ 25025 w 174231"/>
              <a:gd name="connsiteY2" fmla="*/ 762000 h 2667000"/>
              <a:gd name="connsiteX3" fmla="*/ 37537 w 174231"/>
              <a:gd name="connsiteY3" fmla="*/ 825500 h 2667000"/>
              <a:gd name="connsiteX4" fmla="*/ 25025 w 174231"/>
              <a:gd name="connsiteY4" fmla="*/ 889000 h 2667000"/>
              <a:gd name="connsiteX5" fmla="*/ 174231 w 174231"/>
              <a:gd name="connsiteY5" fmla="*/ 2667000 h 2667000"/>
              <a:gd name="connsiteX6" fmla="*/ 47231 w 174231"/>
              <a:gd name="connsiteY6" fmla="*/ 2667000 h 2667000"/>
              <a:gd name="connsiteX0" fmla="*/ 0 w 47231"/>
              <a:gd name="connsiteY0" fmla="*/ 0 h 2667000"/>
              <a:gd name="connsiteX1" fmla="*/ 25025 w 47231"/>
              <a:gd name="connsiteY1" fmla="*/ 0 h 2667000"/>
              <a:gd name="connsiteX2" fmla="*/ 25025 w 47231"/>
              <a:gd name="connsiteY2" fmla="*/ 762000 h 2667000"/>
              <a:gd name="connsiteX3" fmla="*/ 37537 w 47231"/>
              <a:gd name="connsiteY3" fmla="*/ 825500 h 2667000"/>
              <a:gd name="connsiteX4" fmla="*/ 25025 w 47231"/>
              <a:gd name="connsiteY4" fmla="*/ 889000 h 2667000"/>
              <a:gd name="connsiteX5" fmla="*/ 25025 w 47231"/>
              <a:gd name="connsiteY5" fmla="*/ 1651001 h 2667000"/>
              <a:gd name="connsiteX6" fmla="*/ 47231 w 47231"/>
              <a:gd name="connsiteY6" fmla="*/ 2667000 h 2667000"/>
              <a:gd name="connsiteX0" fmla="*/ 0 w 37537"/>
              <a:gd name="connsiteY0" fmla="*/ 0 h 1651001"/>
              <a:gd name="connsiteX1" fmla="*/ 25025 w 37537"/>
              <a:gd name="connsiteY1" fmla="*/ 0 h 1651001"/>
              <a:gd name="connsiteX2" fmla="*/ 25025 w 37537"/>
              <a:gd name="connsiteY2" fmla="*/ 762000 h 1651001"/>
              <a:gd name="connsiteX3" fmla="*/ 37537 w 37537"/>
              <a:gd name="connsiteY3" fmla="*/ 825500 h 1651001"/>
              <a:gd name="connsiteX4" fmla="*/ 25025 w 37537"/>
              <a:gd name="connsiteY4" fmla="*/ 889000 h 1651001"/>
              <a:gd name="connsiteX5" fmla="*/ 25025 w 37537"/>
              <a:gd name="connsiteY5" fmla="*/ 1651001 h 1651001"/>
              <a:gd name="connsiteX6" fmla="*/ 1 w 37537"/>
              <a:gd name="connsiteY6" fmla="*/ 1651001 h 1651001"/>
              <a:gd name="connsiteX0" fmla="*/ 0 w 443862"/>
              <a:gd name="connsiteY0" fmla="*/ 0 h 5119150"/>
              <a:gd name="connsiteX1" fmla="*/ 431350 w 443862"/>
              <a:gd name="connsiteY1" fmla="*/ 3468149 h 5119150"/>
              <a:gd name="connsiteX2" fmla="*/ 431350 w 443862"/>
              <a:gd name="connsiteY2" fmla="*/ 4230149 h 5119150"/>
              <a:gd name="connsiteX3" fmla="*/ 443862 w 443862"/>
              <a:gd name="connsiteY3" fmla="*/ 4293649 h 5119150"/>
              <a:gd name="connsiteX4" fmla="*/ 431350 w 443862"/>
              <a:gd name="connsiteY4" fmla="*/ 4357149 h 5119150"/>
              <a:gd name="connsiteX5" fmla="*/ 431350 w 443862"/>
              <a:gd name="connsiteY5" fmla="*/ 5119150 h 5119150"/>
              <a:gd name="connsiteX6" fmla="*/ 406326 w 443862"/>
              <a:gd name="connsiteY6" fmla="*/ 5119150 h 5119150"/>
              <a:gd name="connsiteX0" fmla="*/ 0 w 443862"/>
              <a:gd name="connsiteY0" fmla="*/ 0 h 5119150"/>
              <a:gd name="connsiteX1" fmla="*/ 8826 w 443862"/>
              <a:gd name="connsiteY1" fmla="*/ 0 h 5119150"/>
              <a:gd name="connsiteX2" fmla="*/ 431350 w 443862"/>
              <a:gd name="connsiteY2" fmla="*/ 4230149 h 5119150"/>
              <a:gd name="connsiteX3" fmla="*/ 443862 w 443862"/>
              <a:gd name="connsiteY3" fmla="*/ 4293649 h 5119150"/>
              <a:gd name="connsiteX4" fmla="*/ 431350 w 443862"/>
              <a:gd name="connsiteY4" fmla="*/ 4357149 h 5119150"/>
              <a:gd name="connsiteX5" fmla="*/ 431350 w 443862"/>
              <a:gd name="connsiteY5" fmla="*/ 5119150 h 5119150"/>
              <a:gd name="connsiteX6" fmla="*/ 406326 w 443862"/>
              <a:gd name="connsiteY6" fmla="*/ 5119150 h 5119150"/>
              <a:gd name="connsiteX0" fmla="*/ 0 w 443862"/>
              <a:gd name="connsiteY0" fmla="*/ 0 h 5119150"/>
              <a:gd name="connsiteX1" fmla="*/ 8826 w 443862"/>
              <a:gd name="connsiteY1" fmla="*/ 0 h 5119150"/>
              <a:gd name="connsiteX2" fmla="*/ 8826 w 443862"/>
              <a:gd name="connsiteY2" fmla="*/ 762000 h 5119150"/>
              <a:gd name="connsiteX3" fmla="*/ 443862 w 443862"/>
              <a:gd name="connsiteY3" fmla="*/ 4293649 h 5119150"/>
              <a:gd name="connsiteX4" fmla="*/ 431350 w 443862"/>
              <a:gd name="connsiteY4" fmla="*/ 4357149 h 5119150"/>
              <a:gd name="connsiteX5" fmla="*/ 431350 w 443862"/>
              <a:gd name="connsiteY5" fmla="*/ 5119150 h 5119150"/>
              <a:gd name="connsiteX6" fmla="*/ 406326 w 443862"/>
              <a:gd name="connsiteY6" fmla="*/ 5119150 h 5119150"/>
              <a:gd name="connsiteX0" fmla="*/ 0 w 431350"/>
              <a:gd name="connsiteY0" fmla="*/ 0 h 5119150"/>
              <a:gd name="connsiteX1" fmla="*/ 8826 w 431350"/>
              <a:gd name="connsiteY1" fmla="*/ 0 h 5119150"/>
              <a:gd name="connsiteX2" fmla="*/ 8826 w 431350"/>
              <a:gd name="connsiteY2" fmla="*/ 762000 h 5119150"/>
              <a:gd name="connsiteX3" fmla="*/ 13239 w 431350"/>
              <a:gd name="connsiteY3" fmla="*/ 825500 h 5119150"/>
              <a:gd name="connsiteX4" fmla="*/ 431350 w 431350"/>
              <a:gd name="connsiteY4" fmla="*/ 4357149 h 5119150"/>
              <a:gd name="connsiteX5" fmla="*/ 431350 w 431350"/>
              <a:gd name="connsiteY5" fmla="*/ 5119150 h 5119150"/>
              <a:gd name="connsiteX6" fmla="*/ 406326 w 431350"/>
              <a:gd name="connsiteY6" fmla="*/ 5119150 h 5119150"/>
              <a:gd name="connsiteX0" fmla="*/ 0 w 431350"/>
              <a:gd name="connsiteY0" fmla="*/ 0 h 5119150"/>
              <a:gd name="connsiteX1" fmla="*/ 8826 w 431350"/>
              <a:gd name="connsiteY1" fmla="*/ 0 h 5119150"/>
              <a:gd name="connsiteX2" fmla="*/ 8826 w 431350"/>
              <a:gd name="connsiteY2" fmla="*/ 762000 h 5119150"/>
              <a:gd name="connsiteX3" fmla="*/ 13239 w 431350"/>
              <a:gd name="connsiteY3" fmla="*/ 825500 h 5119150"/>
              <a:gd name="connsiteX4" fmla="*/ 8826 w 431350"/>
              <a:gd name="connsiteY4" fmla="*/ 889000 h 5119150"/>
              <a:gd name="connsiteX5" fmla="*/ 431350 w 431350"/>
              <a:gd name="connsiteY5" fmla="*/ 5119150 h 5119150"/>
              <a:gd name="connsiteX6" fmla="*/ 406326 w 431350"/>
              <a:gd name="connsiteY6" fmla="*/ 5119150 h 5119150"/>
              <a:gd name="connsiteX0" fmla="*/ 0 w 406326"/>
              <a:gd name="connsiteY0" fmla="*/ 0 h 5119150"/>
              <a:gd name="connsiteX1" fmla="*/ 8826 w 406326"/>
              <a:gd name="connsiteY1" fmla="*/ 0 h 5119150"/>
              <a:gd name="connsiteX2" fmla="*/ 8826 w 406326"/>
              <a:gd name="connsiteY2" fmla="*/ 762000 h 5119150"/>
              <a:gd name="connsiteX3" fmla="*/ 13239 w 406326"/>
              <a:gd name="connsiteY3" fmla="*/ 825500 h 5119150"/>
              <a:gd name="connsiteX4" fmla="*/ 8826 w 406326"/>
              <a:gd name="connsiteY4" fmla="*/ 889000 h 5119150"/>
              <a:gd name="connsiteX5" fmla="*/ 8826 w 406326"/>
              <a:gd name="connsiteY5" fmla="*/ 1651001 h 5119150"/>
              <a:gd name="connsiteX6" fmla="*/ 406326 w 406326"/>
              <a:gd name="connsiteY6" fmla="*/ 5119150 h 5119150"/>
              <a:gd name="connsiteX0" fmla="*/ 0 w 13239"/>
              <a:gd name="connsiteY0" fmla="*/ 0 h 1651001"/>
              <a:gd name="connsiteX1" fmla="*/ 8826 w 13239"/>
              <a:gd name="connsiteY1" fmla="*/ 0 h 1651001"/>
              <a:gd name="connsiteX2" fmla="*/ 8826 w 13239"/>
              <a:gd name="connsiteY2" fmla="*/ 762000 h 1651001"/>
              <a:gd name="connsiteX3" fmla="*/ 13239 w 13239"/>
              <a:gd name="connsiteY3" fmla="*/ 825500 h 1651001"/>
              <a:gd name="connsiteX4" fmla="*/ 8826 w 13239"/>
              <a:gd name="connsiteY4" fmla="*/ 889000 h 1651001"/>
              <a:gd name="connsiteX5" fmla="*/ 8826 w 13239"/>
              <a:gd name="connsiteY5" fmla="*/ 1651001 h 1651001"/>
              <a:gd name="connsiteX6" fmla="*/ 0 w 13239"/>
              <a:gd name="connsiteY6" fmla="*/ 1651001 h 1651001"/>
              <a:gd name="connsiteX0" fmla="*/ 0 w 438662"/>
              <a:gd name="connsiteY0" fmla="*/ 0 h 5119150"/>
              <a:gd name="connsiteX1" fmla="*/ 434249 w 438662"/>
              <a:gd name="connsiteY1" fmla="*/ 3468149 h 5119150"/>
              <a:gd name="connsiteX2" fmla="*/ 434249 w 438662"/>
              <a:gd name="connsiteY2" fmla="*/ 4230149 h 5119150"/>
              <a:gd name="connsiteX3" fmla="*/ 438662 w 438662"/>
              <a:gd name="connsiteY3" fmla="*/ 4293649 h 5119150"/>
              <a:gd name="connsiteX4" fmla="*/ 434249 w 438662"/>
              <a:gd name="connsiteY4" fmla="*/ 4357149 h 5119150"/>
              <a:gd name="connsiteX5" fmla="*/ 434249 w 438662"/>
              <a:gd name="connsiteY5" fmla="*/ 5119150 h 5119150"/>
              <a:gd name="connsiteX6" fmla="*/ 425423 w 438662"/>
              <a:gd name="connsiteY6" fmla="*/ 5119150 h 5119150"/>
              <a:gd name="connsiteX0" fmla="*/ 0 w 438662"/>
              <a:gd name="connsiteY0" fmla="*/ 0 h 5119150"/>
              <a:gd name="connsiteX1" fmla="*/ 8826 w 438662"/>
              <a:gd name="connsiteY1" fmla="*/ 0 h 5119150"/>
              <a:gd name="connsiteX2" fmla="*/ 434249 w 438662"/>
              <a:gd name="connsiteY2" fmla="*/ 4230149 h 5119150"/>
              <a:gd name="connsiteX3" fmla="*/ 438662 w 438662"/>
              <a:gd name="connsiteY3" fmla="*/ 4293649 h 5119150"/>
              <a:gd name="connsiteX4" fmla="*/ 434249 w 438662"/>
              <a:gd name="connsiteY4" fmla="*/ 4357149 h 5119150"/>
              <a:gd name="connsiteX5" fmla="*/ 434249 w 438662"/>
              <a:gd name="connsiteY5" fmla="*/ 5119150 h 5119150"/>
              <a:gd name="connsiteX6" fmla="*/ 425423 w 438662"/>
              <a:gd name="connsiteY6" fmla="*/ 5119150 h 5119150"/>
              <a:gd name="connsiteX0" fmla="*/ 0 w 438662"/>
              <a:gd name="connsiteY0" fmla="*/ 0 h 5119150"/>
              <a:gd name="connsiteX1" fmla="*/ 8826 w 438662"/>
              <a:gd name="connsiteY1" fmla="*/ 0 h 5119150"/>
              <a:gd name="connsiteX2" fmla="*/ 8826 w 438662"/>
              <a:gd name="connsiteY2" fmla="*/ 762000 h 5119150"/>
              <a:gd name="connsiteX3" fmla="*/ 438662 w 438662"/>
              <a:gd name="connsiteY3" fmla="*/ 4293649 h 5119150"/>
              <a:gd name="connsiteX4" fmla="*/ 434249 w 438662"/>
              <a:gd name="connsiteY4" fmla="*/ 4357149 h 5119150"/>
              <a:gd name="connsiteX5" fmla="*/ 434249 w 438662"/>
              <a:gd name="connsiteY5" fmla="*/ 5119150 h 5119150"/>
              <a:gd name="connsiteX6" fmla="*/ 425423 w 438662"/>
              <a:gd name="connsiteY6" fmla="*/ 5119150 h 5119150"/>
              <a:gd name="connsiteX0" fmla="*/ 0 w 434249"/>
              <a:gd name="connsiteY0" fmla="*/ 0 h 5119150"/>
              <a:gd name="connsiteX1" fmla="*/ 8826 w 434249"/>
              <a:gd name="connsiteY1" fmla="*/ 0 h 5119150"/>
              <a:gd name="connsiteX2" fmla="*/ 8826 w 434249"/>
              <a:gd name="connsiteY2" fmla="*/ 762000 h 5119150"/>
              <a:gd name="connsiteX3" fmla="*/ 13240 w 434249"/>
              <a:gd name="connsiteY3" fmla="*/ 825500 h 5119150"/>
              <a:gd name="connsiteX4" fmla="*/ 434249 w 434249"/>
              <a:gd name="connsiteY4" fmla="*/ 4357149 h 5119150"/>
              <a:gd name="connsiteX5" fmla="*/ 434249 w 434249"/>
              <a:gd name="connsiteY5" fmla="*/ 5119150 h 5119150"/>
              <a:gd name="connsiteX6" fmla="*/ 425423 w 434249"/>
              <a:gd name="connsiteY6" fmla="*/ 5119150 h 5119150"/>
              <a:gd name="connsiteX0" fmla="*/ 0 w 434249"/>
              <a:gd name="connsiteY0" fmla="*/ 0 h 5119150"/>
              <a:gd name="connsiteX1" fmla="*/ 8826 w 434249"/>
              <a:gd name="connsiteY1" fmla="*/ 0 h 5119150"/>
              <a:gd name="connsiteX2" fmla="*/ 8826 w 434249"/>
              <a:gd name="connsiteY2" fmla="*/ 762000 h 5119150"/>
              <a:gd name="connsiteX3" fmla="*/ 13240 w 434249"/>
              <a:gd name="connsiteY3" fmla="*/ 825500 h 5119150"/>
              <a:gd name="connsiteX4" fmla="*/ 8826 w 434249"/>
              <a:gd name="connsiteY4" fmla="*/ 889000 h 5119150"/>
              <a:gd name="connsiteX5" fmla="*/ 434249 w 434249"/>
              <a:gd name="connsiteY5" fmla="*/ 5119150 h 5119150"/>
              <a:gd name="connsiteX6" fmla="*/ 425423 w 434249"/>
              <a:gd name="connsiteY6" fmla="*/ 5119150 h 5119150"/>
              <a:gd name="connsiteX0" fmla="*/ 0 w 425423"/>
              <a:gd name="connsiteY0" fmla="*/ 0 h 5119150"/>
              <a:gd name="connsiteX1" fmla="*/ 8826 w 425423"/>
              <a:gd name="connsiteY1" fmla="*/ 0 h 5119150"/>
              <a:gd name="connsiteX2" fmla="*/ 8826 w 425423"/>
              <a:gd name="connsiteY2" fmla="*/ 762000 h 5119150"/>
              <a:gd name="connsiteX3" fmla="*/ 13240 w 425423"/>
              <a:gd name="connsiteY3" fmla="*/ 825500 h 5119150"/>
              <a:gd name="connsiteX4" fmla="*/ 8826 w 425423"/>
              <a:gd name="connsiteY4" fmla="*/ 889000 h 5119150"/>
              <a:gd name="connsiteX5" fmla="*/ 8826 w 425423"/>
              <a:gd name="connsiteY5" fmla="*/ 1651001 h 5119150"/>
              <a:gd name="connsiteX6" fmla="*/ 425423 w 425423"/>
              <a:gd name="connsiteY6" fmla="*/ 5119150 h 5119150"/>
              <a:gd name="connsiteX0" fmla="*/ 0 w 13240"/>
              <a:gd name="connsiteY0" fmla="*/ 0 h 1651001"/>
              <a:gd name="connsiteX1" fmla="*/ 8826 w 13240"/>
              <a:gd name="connsiteY1" fmla="*/ 0 h 1651001"/>
              <a:gd name="connsiteX2" fmla="*/ 8826 w 13240"/>
              <a:gd name="connsiteY2" fmla="*/ 762000 h 1651001"/>
              <a:gd name="connsiteX3" fmla="*/ 13240 w 13240"/>
              <a:gd name="connsiteY3" fmla="*/ 825500 h 1651001"/>
              <a:gd name="connsiteX4" fmla="*/ 8826 w 13240"/>
              <a:gd name="connsiteY4" fmla="*/ 889000 h 1651001"/>
              <a:gd name="connsiteX5" fmla="*/ 8826 w 13240"/>
              <a:gd name="connsiteY5" fmla="*/ 1651001 h 1651001"/>
              <a:gd name="connsiteX6" fmla="*/ 0 w 13240"/>
              <a:gd name="connsiteY6" fmla="*/ 1651001 h 1651001"/>
              <a:gd name="connsiteX0" fmla="*/ 0 w 466020"/>
              <a:gd name="connsiteY0" fmla="*/ 0 h 5119150"/>
              <a:gd name="connsiteX1" fmla="*/ 461606 w 466020"/>
              <a:gd name="connsiteY1" fmla="*/ 3468149 h 5119150"/>
              <a:gd name="connsiteX2" fmla="*/ 461606 w 466020"/>
              <a:gd name="connsiteY2" fmla="*/ 4230149 h 5119150"/>
              <a:gd name="connsiteX3" fmla="*/ 466020 w 466020"/>
              <a:gd name="connsiteY3" fmla="*/ 4293649 h 5119150"/>
              <a:gd name="connsiteX4" fmla="*/ 461606 w 466020"/>
              <a:gd name="connsiteY4" fmla="*/ 4357149 h 5119150"/>
              <a:gd name="connsiteX5" fmla="*/ 461606 w 466020"/>
              <a:gd name="connsiteY5" fmla="*/ 5119150 h 5119150"/>
              <a:gd name="connsiteX6" fmla="*/ 452780 w 466020"/>
              <a:gd name="connsiteY6" fmla="*/ 5119150 h 5119150"/>
              <a:gd name="connsiteX0" fmla="*/ 0 w 466020"/>
              <a:gd name="connsiteY0" fmla="*/ 0 h 5119150"/>
              <a:gd name="connsiteX1" fmla="*/ 8826 w 466020"/>
              <a:gd name="connsiteY1" fmla="*/ 0 h 5119150"/>
              <a:gd name="connsiteX2" fmla="*/ 461606 w 466020"/>
              <a:gd name="connsiteY2" fmla="*/ 4230149 h 5119150"/>
              <a:gd name="connsiteX3" fmla="*/ 466020 w 466020"/>
              <a:gd name="connsiteY3" fmla="*/ 4293649 h 5119150"/>
              <a:gd name="connsiteX4" fmla="*/ 461606 w 466020"/>
              <a:gd name="connsiteY4" fmla="*/ 4357149 h 5119150"/>
              <a:gd name="connsiteX5" fmla="*/ 461606 w 466020"/>
              <a:gd name="connsiteY5" fmla="*/ 5119150 h 5119150"/>
              <a:gd name="connsiteX6" fmla="*/ 452780 w 466020"/>
              <a:gd name="connsiteY6" fmla="*/ 5119150 h 5119150"/>
              <a:gd name="connsiteX0" fmla="*/ 0 w 466020"/>
              <a:gd name="connsiteY0" fmla="*/ 0 h 5119150"/>
              <a:gd name="connsiteX1" fmla="*/ 8826 w 466020"/>
              <a:gd name="connsiteY1" fmla="*/ 0 h 5119150"/>
              <a:gd name="connsiteX2" fmla="*/ 8826 w 466020"/>
              <a:gd name="connsiteY2" fmla="*/ 762000 h 5119150"/>
              <a:gd name="connsiteX3" fmla="*/ 466020 w 466020"/>
              <a:gd name="connsiteY3" fmla="*/ 4293649 h 5119150"/>
              <a:gd name="connsiteX4" fmla="*/ 461606 w 466020"/>
              <a:gd name="connsiteY4" fmla="*/ 4357149 h 5119150"/>
              <a:gd name="connsiteX5" fmla="*/ 461606 w 466020"/>
              <a:gd name="connsiteY5" fmla="*/ 5119150 h 5119150"/>
              <a:gd name="connsiteX6" fmla="*/ 452780 w 466020"/>
              <a:gd name="connsiteY6" fmla="*/ 5119150 h 5119150"/>
              <a:gd name="connsiteX0" fmla="*/ 0 w 461606"/>
              <a:gd name="connsiteY0" fmla="*/ 0 h 5119150"/>
              <a:gd name="connsiteX1" fmla="*/ 8826 w 461606"/>
              <a:gd name="connsiteY1" fmla="*/ 0 h 5119150"/>
              <a:gd name="connsiteX2" fmla="*/ 8826 w 461606"/>
              <a:gd name="connsiteY2" fmla="*/ 762000 h 5119150"/>
              <a:gd name="connsiteX3" fmla="*/ 13240 w 461606"/>
              <a:gd name="connsiteY3" fmla="*/ 825500 h 5119150"/>
              <a:gd name="connsiteX4" fmla="*/ 461606 w 461606"/>
              <a:gd name="connsiteY4" fmla="*/ 4357149 h 5119150"/>
              <a:gd name="connsiteX5" fmla="*/ 461606 w 461606"/>
              <a:gd name="connsiteY5" fmla="*/ 5119150 h 5119150"/>
              <a:gd name="connsiteX6" fmla="*/ 452780 w 461606"/>
              <a:gd name="connsiteY6" fmla="*/ 5119150 h 5119150"/>
              <a:gd name="connsiteX0" fmla="*/ 0 w 461606"/>
              <a:gd name="connsiteY0" fmla="*/ 0 h 5119150"/>
              <a:gd name="connsiteX1" fmla="*/ 8826 w 461606"/>
              <a:gd name="connsiteY1" fmla="*/ 0 h 5119150"/>
              <a:gd name="connsiteX2" fmla="*/ 8826 w 461606"/>
              <a:gd name="connsiteY2" fmla="*/ 762000 h 5119150"/>
              <a:gd name="connsiteX3" fmla="*/ 13240 w 461606"/>
              <a:gd name="connsiteY3" fmla="*/ 825500 h 5119150"/>
              <a:gd name="connsiteX4" fmla="*/ 8826 w 461606"/>
              <a:gd name="connsiteY4" fmla="*/ 889000 h 5119150"/>
              <a:gd name="connsiteX5" fmla="*/ 461606 w 461606"/>
              <a:gd name="connsiteY5" fmla="*/ 5119150 h 5119150"/>
              <a:gd name="connsiteX6" fmla="*/ 452780 w 461606"/>
              <a:gd name="connsiteY6" fmla="*/ 5119150 h 5119150"/>
              <a:gd name="connsiteX0" fmla="*/ 0 w 452780"/>
              <a:gd name="connsiteY0" fmla="*/ 0 h 5119150"/>
              <a:gd name="connsiteX1" fmla="*/ 8826 w 452780"/>
              <a:gd name="connsiteY1" fmla="*/ 0 h 5119150"/>
              <a:gd name="connsiteX2" fmla="*/ 8826 w 452780"/>
              <a:gd name="connsiteY2" fmla="*/ 762000 h 5119150"/>
              <a:gd name="connsiteX3" fmla="*/ 13240 w 452780"/>
              <a:gd name="connsiteY3" fmla="*/ 825500 h 5119150"/>
              <a:gd name="connsiteX4" fmla="*/ 8826 w 452780"/>
              <a:gd name="connsiteY4" fmla="*/ 889000 h 5119150"/>
              <a:gd name="connsiteX5" fmla="*/ 8826 w 452780"/>
              <a:gd name="connsiteY5" fmla="*/ 1651001 h 5119150"/>
              <a:gd name="connsiteX6" fmla="*/ 452780 w 452780"/>
              <a:gd name="connsiteY6" fmla="*/ 5119150 h 5119150"/>
              <a:gd name="connsiteX0" fmla="*/ 0 w 13240"/>
              <a:gd name="connsiteY0" fmla="*/ 0 h 1651001"/>
              <a:gd name="connsiteX1" fmla="*/ 8826 w 13240"/>
              <a:gd name="connsiteY1" fmla="*/ 0 h 1651001"/>
              <a:gd name="connsiteX2" fmla="*/ 8826 w 13240"/>
              <a:gd name="connsiteY2" fmla="*/ 762000 h 1651001"/>
              <a:gd name="connsiteX3" fmla="*/ 13240 w 13240"/>
              <a:gd name="connsiteY3" fmla="*/ 825500 h 1651001"/>
              <a:gd name="connsiteX4" fmla="*/ 8826 w 13240"/>
              <a:gd name="connsiteY4" fmla="*/ 889000 h 1651001"/>
              <a:gd name="connsiteX5" fmla="*/ 8826 w 13240"/>
              <a:gd name="connsiteY5" fmla="*/ 1651001 h 1651001"/>
              <a:gd name="connsiteX6" fmla="*/ 0 w 13240"/>
              <a:gd name="connsiteY6" fmla="*/ 1651001 h 1651001"/>
              <a:gd name="connsiteX0" fmla="*/ 0 w 83612"/>
              <a:gd name="connsiteY0" fmla="*/ 0 h 5119150"/>
              <a:gd name="connsiteX1" fmla="*/ 79198 w 83612"/>
              <a:gd name="connsiteY1" fmla="*/ 3468149 h 5119150"/>
              <a:gd name="connsiteX2" fmla="*/ 79198 w 83612"/>
              <a:gd name="connsiteY2" fmla="*/ 4230149 h 5119150"/>
              <a:gd name="connsiteX3" fmla="*/ 83612 w 83612"/>
              <a:gd name="connsiteY3" fmla="*/ 4293649 h 5119150"/>
              <a:gd name="connsiteX4" fmla="*/ 79198 w 83612"/>
              <a:gd name="connsiteY4" fmla="*/ 4357149 h 5119150"/>
              <a:gd name="connsiteX5" fmla="*/ 79198 w 83612"/>
              <a:gd name="connsiteY5" fmla="*/ 5119150 h 5119150"/>
              <a:gd name="connsiteX6" fmla="*/ 70372 w 83612"/>
              <a:gd name="connsiteY6" fmla="*/ 5119150 h 5119150"/>
              <a:gd name="connsiteX0" fmla="*/ 0 w 83612"/>
              <a:gd name="connsiteY0" fmla="*/ 0 h 5119150"/>
              <a:gd name="connsiteX1" fmla="*/ 1372 w 83612"/>
              <a:gd name="connsiteY1" fmla="*/ 0 h 5119150"/>
              <a:gd name="connsiteX2" fmla="*/ 79198 w 83612"/>
              <a:gd name="connsiteY2" fmla="*/ 4230149 h 5119150"/>
              <a:gd name="connsiteX3" fmla="*/ 83612 w 83612"/>
              <a:gd name="connsiteY3" fmla="*/ 4293649 h 5119150"/>
              <a:gd name="connsiteX4" fmla="*/ 79198 w 83612"/>
              <a:gd name="connsiteY4" fmla="*/ 4357149 h 5119150"/>
              <a:gd name="connsiteX5" fmla="*/ 79198 w 83612"/>
              <a:gd name="connsiteY5" fmla="*/ 5119150 h 5119150"/>
              <a:gd name="connsiteX6" fmla="*/ 70372 w 83612"/>
              <a:gd name="connsiteY6" fmla="*/ 5119150 h 5119150"/>
              <a:gd name="connsiteX0" fmla="*/ 0 w 83612"/>
              <a:gd name="connsiteY0" fmla="*/ 0 h 5119150"/>
              <a:gd name="connsiteX1" fmla="*/ 1372 w 83612"/>
              <a:gd name="connsiteY1" fmla="*/ 0 h 5119150"/>
              <a:gd name="connsiteX2" fmla="*/ 1372 w 83612"/>
              <a:gd name="connsiteY2" fmla="*/ 762000 h 5119150"/>
              <a:gd name="connsiteX3" fmla="*/ 83612 w 83612"/>
              <a:gd name="connsiteY3" fmla="*/ 4293649 h 5119150"/>
              <a:gd name="connsiteX4" fmla="*/ 79198 w 83612"/>
              <a:gd name="connsiteY4" fmla="*/ 4357149 h 5119150"/>
              <a:gd name="connsiteX5" fmla="*/ 79198 w 83612"/>
              <a:gd name="connsiteY5" fmla="*/ 5119150 h 5119150"/>
              <a:gd name="connsiteX6" fmla="*/ 70372 w 83612"/>
              <a:gd name="connsiteY6" fmla="*/ 5119150 h 5119150"/>
              <a:gd name="connsiteX0" fmla="*/ 0 w 79198"/>
              <a:gd name="connsiteY0" fmla="*/ 0 h 5119150"/>
              <a:gd name="connsiteX1" fmla="*/ 1372 w 79198"/>
              <a:gd name="connsiteY1" fmla="*/ 0 h 5119150"/>
              <a:gd name="connsiteX2" fmla="*/ 1372 w 79198"/>
              <a:gd name="connsiteY2" fmla="*/ 762000 h 5119150"/>
              <a:gd name="connsiteX3" fmla="*/ 2058 w 79198"/>
              <a:gd name="connsiteY3" fmla="*/ 825500 h 5119150"/>
              <a:gd name="connsiteX4" fmla="*/ 79198 w 79198"/>
              <a:gd name="connsiteY4" fmla="*/ 4357149 h 5119150"/>
              <a:gd name="connsiteX5" fmla="*/ 79198 w 79198"/>
              <a:gd name="connsiteY5" fmla="*/ 5119150 h 5119150"/>
              <a:gd name="connsiteX6" fmla="*/ 70372 w 79198"/>
              <a:gd name="connsiteY6" fmla="*/ 5119150 h 5119150"/>
              <a:gd name="connsiteX0" fmla="*/ 0 w 79198"/>
              <a:gd name="connsiteY0" fmla="*/ 0 h 5119150"/>
              <a:gd name="connsiteX1" fmla="*/ 1372 w 79198"/>
              <a:gd name="connsiteY1" fmla="*/ 0 h 5119150"/>
              <a:gd name="connsiteX2" fmla="*/ 1372 w 79198"/>
              <a:gd name="connsiteY2" fmla="*/ 762000 h 5119150"/>
              <a:gd name="connsiteX3" fmla="*/ 2058 w 79198"/>
              <a:gd name="connsiteY3" fmla="*/ 825500 h 5119150"/>
              <a:gd name="connsiteX4" fmla="*/ 1372 w 79198"/>
              <a:gd name="connsiteY4" fmla="*/ 889000 h 5119150"/>
              <a:gd name="connsiteX5" fmla="*/ 79198 w 79198"/>
              <a:gd name="connsiteY5" fmla="*/ 5119150 h 5119150"/>
              <a:gd name="connsiteX6" fmla="*/ 70372 w 79198"/>
              <a:gd name="connsiteY6" fmla="*/ 5119150 h 5119150"/>
              <a:gd name="connsiteX0" fmla="*/ 0 w 70372"/>
              <a:gd name="connsiteY0" fmla="*/ 0 h 5119150"/>
              <a:gd name="connsiteX1" fmla="*/ 1372 w 70372"/>
              <a:gd name="connsiteY1" fmla="*/ 0 h 5119150"/>
              <a:gd name="connsiteX2" fmla="*/ 1372 w 70372"/>
              <a:gd name="connsiteY2" fmla="*/ 762000 h 5119150"/>
              <a:gd name="connsiteX3" fmla="*/ 2058 w 70372"/>
              <a:gd name="connsiteY3" fmla="*/ 825500 h 5119150"/>
              <a:gd name="connsiteX4" fmla="*/ 1372 w 70372"/>
              <a:gd name="connsiteY4" fmla="*/ 889000 h 5119150"/>
              <a:gd name="connsiteX5" fmla="*/ 1372 w 70372"/>
              <a:gd name="connsiteY5" fmla="*/ 1651001 h 5119150"/>
              <a:gd name="connsiteX6" fmla="*/ 70372 w 70372"/>
              <a:gd name="connsiteY6" fmla="*/ 5119150 h 5119150"/>
              <a:gd name="connsiteX0" fmla="*/ 0 w 2058"/>
              <a:gd name="connsiteY0" fmla="*/ 0 h 1651001"/>
              <a:gd name="connsiteX1" fmla="*/ 1372 w 2058"/>
              <a:gd name="connsiteY1" fmla="*/ 0 h 1651001"/>
              <a:gd name="connsiteX2" fmla="*/ 1372 w 2058"/>
              <a:gd name="connsiteY2" fmla="*/ 762000 h 1651001"/>
              <a:gd name="connsiteX3" fmla="*/ 2058 w 2058"/>
              <a:gd name="connsiteY3" fmla="*/ 825500 h 1651001"/>
              <a:gd name="connsiteX4" fmla="*/ 1372 w 2058"/>
              <a:gd name="connsiteY4" fmla="*/ 889000 h 1651001"/>
              <a:gd name="connsiteX5" fmla="*/ 1372 w 2058"/>
              <a:gd name="connsiteY5" fmla="*/ 1651001 h 1651001"/>
              <a:gd name="connsiteX6" fmla="*/ 0 w 2058"/>
              <a:gd name="connsiteY6" fmla="*/ 1651001 h 165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" h="1651001">
                <a:moveTo>
                  <a:pt x="0" y="0"/>
                </a:moveTo>
                <a:lnTo>
                  <a:pt x="1372" y="0"/>
                </a:lnTo>
                <a:lnTo>
                  <a:pt x="1372" y="762000"/>
                </a:lnTo>
                <a:lnTo>
                  <a:pt x="2058" y="825500"/>
                </a:lnTo>
                <a:lnTo>
                  <a:pt x="1372" y="889000"/>
                </a:lnTo>
                <a:lnTo>
                  <a:pt x="1372" y="1651001"/>
                </a:lnTo>
                <a:lnTo>
                  <a:pt x="0" y="1651001"/>
                </a:lnTo>
              </a:path>
            </a:pathLst>
          </a:cu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7" name="SingleChevron" hidden="1">
            <a:extLst>
              <a:ext uri="{FF2B5EF4-FFF2-40B4-BE49-F238E27FC236}">
                <a16:creationId xmlns:a16="http://schemas.microsoft.com/office/drawing/2014/main" id="{E60D77BD-A62E-4CA5-9A51-C84D751936C2}"/>
              </a:ext>
            </a:extLst>
          </p:cNvPr>
          <p:cNvSpPr>
            <a:spLocks noChangeAspect="1"/>
          </p:cNvSpPr>
          <p:nvPr userDrawn="1">
            <p:custDataLst>
              <p:tags r:id="rId14"/>
            </p:custDataLst>
          </p:nvPr>
        </p:nvSpPr>
        <p:spPr bwMode="gray">
          <a:xfrm>
            <a:off x="3830992" y="4433899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sz="1600" dirty="0">
              <a:solidFill>
                <a:schemeClr val="tx1"/>
              </a:solidFill>
            </a:endParaRPr>
          </a:p>
        </p:txBody>
      </p:sp>
      <p:grpSp>
        <p:nvGrpSpPr>
          <p:cNvPr id="78" name="DoubleChevron2" hidden="1">
            <a:extLst>
              <a:ext uri="{FF2B5EF4-FFF2-40B4-BE49-F238E27FC236}">
                <a16:creationId xmlns:a16="http://schemas.microsoft.com/office/drawing/2014/main" id="{6FEDCEFE-A08D-4C06-BC80-77EA60DD4826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 bwMode="gray">
          <a:xfrm>
            <a:off x="5099495" y="4433899"/>
            <a:ext cx="1242929" cy="1524000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9" name="Chevron1">
              <a:extLst>
                <a:ext uri="{FF2B5EF4-FFF2-40B4-BE49-F238E27FC236}">
                  <a16:creationId xmlns:a16="http://schemas.microsoft.com/office/drawing/2014/main" id="{17C1E408-1553-434A-BFC7-03A76C8F21A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a-DK" sz="1600" dirty="0">
                <a:solidFill>
                  <a:schemeClr val="tx1"/>
                </a:solidFill>
              </a:endParaRPr>
            </a:p>
          </p:txBody>
        </p:sp>
        <p:sp>
          <p:nvSpPr>
            <p:cNvPr id="80" name="Chevron2">
              <a:extLst>
                <a:ext uri="{FF2B5EF4-FFF2-40B4-BE49-F238E27FC236}">
                  <a16:creationId xmlns:a16="http://schemas.microsoft.com/office/drawing/2014/main" id="{D2E4BF40-AD8C-4178-90D0-BDAB2DF6E5D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gray"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a-DK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DoubleChevron" hidden="1">
            <a:extLst>
              <a:ext uri="{FF2B5EF4-FFF2-40B4-BE49-F238E27FC236}">
                <a16:creationId xmlns:a16="http://schemas.microsoft.com/office/drawing/2014/main" id="{B319772F-A619-4A37-8835-3FEA1A1C0AA9}"/>
              </a:ext>
            </a:extLst>
          </p:cNvPr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 bwMode="gray">
          <a:xfrm>
            <a:off x="4291454" y="4433899"/>
            <a:ext cx="1014329" cy="1524000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82" name="Chevron1">
              <a:extLst>
                <a:ext uri="{FF2B5EF4-FFF2-40B4-BE49-F238E27FC236}">
                  <a16:creationId xmlns:a16="http://schemas.microsoft.com/office/drawing/2014/main" id="{57EB4BB7-8511-4ADB-82EA-76355A311A6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a-DK" sz="1600" dirty="0">
                <a:solidFill>
                  <a:schemeClr val="tx1"/>
                </a:solidFill>
              </a:endParaRPr>
            </a:p>
          </p:txBody>
        </p:sp>
        <p:sp>
          <p:nvSpPr>
            <p:cNvPr id="83" name="Chevron2">
              <a:extLst>
                <a:ext uri="{FF2B5EF4-FFF2-40B4-BE49-F238E27FC236}">
                  <a16:creationId xmlns:a16="http://schemas.microsoft.com/office/drawing/2014/main" id="{35C48D4F-1AEB-4DAE-854E-C9D344603263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gray"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a-DK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4" name="LegendBoxes" hidden="1">
            <a:extLst>
              <a:ext uri="{FF2B5EF4-FFF2-40B4-BE49-F238E27FC236}">
                <a16:creationId xmlns:a16="http://schemas.microsoft.com/office/drawing/2014/main" id="{9C237DCA-10C7-4200-BCF1-5C9C0E72EDB0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818613" y="1198769"/>
            <a:ext cx="763787" cy="996951"/>
            <a:chOff x="4936" y="176"/>
            <a:chExt cx="481" cy="628"/>
          </a:xfrm>
        </p:grpSpPr>
        <p:sp>
          <p:nvSpPr>
            <p:cNvPr id="85" name="Legend1">
              <a:extLst>
                <a:ext uri="{FF2B5EF4-FFF2-40B4-BE49-F238E27FC236}">
                  <a16:creationId xmlns:a16="http://schemas.microsoft.com/office/drawing/2014/main" id="{EB2D023B-B5E7-4C62-9412-E0CCE214D22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86" name="LegendRectangle1">
              <a:extLst>
                <a:ext uri="{FF2B5EF4-FFF2-40B4-BE49-F238E27FC236}">
                  <a16:creationId xmlns:a16="http://schemas.microsoft.com/office/drawing/2014/main" id="{DD2C6EC2-28D0-4B3C-A6B8-A280CBFE9EE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57FF7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87" name="Legend2">
              <a:extLst>
                <a:ext uri="{FF2B5EF4-FFF2-40B4-BE49-F238E27FC236}">
                  <a16:creationId xmlns:a16="http://schemas.microsoft.com/office/drawing/2014/main" id="{013CDFD3-E919-4798-B18C-A575039245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88" name="LegendRectangle2">
              <a:extLst>
                <a:ext uri="{FF2B5EF4-FFF2-40B4-BE49-F238E27FC236}">
                  <a16:creationId xmlns:a16="http://schemas.microsoft.com/office/drawing/2014/main" id="{E5798A9D-0E96-40C8-8E58-080D48A7CD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1AB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89" name="Legend3">
              <a:extLst>
                <a:ext uri="{FF2B5EF4-FFF2-40B4-BE49-F238E27FC236}">
                  <a16:creationId xmlns:a16="http://schemas.microsoft.com/office/drawing/2014/main" id="{5D401F93-351C-4F43-A16E-949E06E552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90" name="LegendRectangle3">
              <a:extLst>
                <a:ext uri="{FF2B5EF4-FFF2-40B4-BE49-F238E27FC236}">
                  <a16:creationId xmlns:a16="http://schemas.microsoft.com/office/drawing/2014/main" id="{18128B30-7107-4714-B19A-B97791A280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664D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91" name="Legend4">
              <a:extLst>
                <a:ext uri="{FF2B5EF4-FFF2-40B4-BE49-F238E27FC236}">
                  <a16:creationId xmlns:a16="http://schemas.microsoft.com/office/drawing/2014/main" id="{A20C8F97-B93B-4E1E-85BD-F963B3CC4C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92" name="LegendRectangle4">
              <a:extLst>
                <a:ext uri="{FF2B5EF4-FFF2-40B4-BE49-F238E27FC236}">
                  <a16:creationId xmlns:a16="http://schemas.microsoft.com/office/drawing/2014/main" id="{58194082-F22A-4D6C-BF90-2137D7493A4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0D4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93" name="LegendLines" hidden="1">
            <a:extLst>
              <a:ext uri="{FF2B5EF4-FFF2-40B4-BE49-F238E27FC236}">
                <a16:creationId xmlns:a16="http://schemas.microsoft.com/office/drawing/2014/main" id="{80EA943C-A04B-4DFA-8E73-163E0B650A73}"/>
              </a:ext>
            </a:extLst>
          </p:cNvPr>
          <p:cNvGrpSpPr/>
          <p:nvPr userDrawn="1"/>
        </p:nvGrpSpPr>
        <p:grpSpPr bwMode="gray">
          <a:xfrm>
            <a:off x="10510558" y="1198769"/>
            <a:ext cx="1071842" cy="730251"/>
            <a:chOff x="7740638" y="619221"/>
            <a:chExt cx="1071842" cy="730251"/>
          </a:xfrm>
        </p:grpSpPr>
        <p:sp>
          <p:nvSpPr>
            <p:cNvPr id="94" name="LineLegend1">
              <a:extLst>
                <a:ext uri="{FF2B5EF4-FFF2-40B4-BE49-F238E27FC236}">
                  <a16:creationId xmlns:a16="http://schemas.microsoft.com/office/drawing/2014/main" id="{BE230623-0273-4B11-A460-045595F1852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740638" y="711296"/>
              <a:ext cx="457319" cy="0"/>
            </a:xfrm>
            <a:prstGeom prst="line">
              <a:avLst/>
            </a:prstGeom>
            <a:noFill/>
            <a:ln w="28575">
              <a:solidFill>
                <a:srgbClr val="0D40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95" name="LineLegend2">
              <a:extLst>
                <a:ext uri="{FF2B5EF4-FFF2-40B4-BE49-F238E27FC236}">
                  <a16:creationId xmlns:a16="http://schemas.microsoft.com/office/drawing/2014/main" id="{1A0431A9-E5D0-4632-8BC7-9F196B4F9A1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740638" y="984347"/>
              <a:ext cx="457319" cy="0"/>
            </a:xfrm>
            <a:prstGeom prst="line">
              <a:avLst/>
            </a:prstGeom>
            <a:noFill/>
            <a:ln w="28575">
              <a:solidFill>
                <a:srgbClr val="0D40F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96" name="LineLegend3">
              <a:extLst>
                <a:ext uri="{FF2B5EF4-FFF2-40B4-BE49-F238E27FC236}">
                  <a16:creationId xmlns:a16="http://schemas.microsoft.com/office/drawing/2014/main" id="{A5D065B3-FD8E-46B0-95C2-F0D7722BA85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740638" y="1257397"/>
              <a:ext cx="457319" cy="0"/>
            </a:xfrm>
            <a:prstGeom prst="line">
              <a:avLst/>
            </a:prstGeom>
            <a:noFill/>
            <a:ln w="28575">
              <a:solidFill>
                <a:srgbClr val="0D40F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noProof="0" dirty="0">
                <a:latin typeface="+mn-lt"/>
              </a:endParaRPr>
            </a:p>
          </p:txBody>
        </p:sp>
        <p:sp>
          <p:nvSpPr>
            <p:cNvPr id="97" name="Legend1">
              <a:extLst>
                <a:ext uri="{FF2B5EF4-FFF2-40B4-BE49-F238E27FC236}">
                  <a16:creationId xmlns:a16="http://schemas.microsoft.com/office/drawing/2014/main" id="{44632945-4752-4575-92CD-9378CE02E6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02760" y="619221"/>
              <a:ext cx="50972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98" name="Legend2">
              <a:extLst>
                <a:ext uri="{FF2B5EF4-FFF2-40B4-BE49-F238E27FC236}">
                  <a16:creationId xmlns:a16="http://schemas.microsoft.com/office/drawing/2014/main" id="{0E606291-8B72-47A8-9122-CF6D12F129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02760" y="892272"/>
              <a:ext cx="50972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99" name="Legend3">
              <a:extLst>
                <a:ext uri="{FF2B5EF4-FFF2-40B4-BE49-F238E27FC236}">
                  <a16:creationId xmlns:a16="http://schemas.microsoft.com/office/drawing/2014/main" id="{0918CFAB-B8D5-4A37-919D-807A700B2D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02760" y="1165322"/>
              <a:ext cx="50972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</p:grpSp>
      <p:grpSp>
        <p:nvGrpSpPr>
          <p:cNvPr id="104" name="LegendMoons" hidden="1">
            <a:extLst>
              <a:ext uri="{FF2B5EF4-FFF2-40B4-BE49-F238E27FC236}">
                <a16:creationId xmlns:a16="http://schemas.microsoft.com/office/drawing/2014/main" id="{C829E7EF-CC67-457B-9EEF-6A378FFD1079}"/>
              </a:ext>
            </a:extLst>
          </p:cNvPr>
          <p:cNvGrpSpPr/>
          <p:nvPr userDrawn="1"/>
        </p:nvGrpSpPr>
        <p:grpSpPr bwMode="gray">
          <a:xfrm>
            <a:off x="10751754" y="1198769"/>
            <a:ext cx="830646" cy="1306516"/>
            <a:chOff x="7769225" y="2105025"/>
            <a:chExt cx="830430" cy="1306516"/>
          </a:xfrm>
        </p:grpSpPr>
        <p:grpSp>
          <p:nvGrpSpPr>
            <p:cNvPr id="105" name="MoonLegend1">
              <a:extLst>
                <a:ext uri="{FF2B5EF4-FFF2-40B4-BE49-F238E27FC236}">
                  <a16:creationId xmlns:a16="http://schemas.microsoft.com/office/drawing/2014/main" id="{B02195D6-4668-4949-8940-FC2F57B1264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64" name="Oval 38">
                <a:extLst>
                  <a:ext uri="{FF2B5EF4-FFF2-40B4-BE49-F238E27FC236}">
                    <a16:creationId xmlns:a16="http://schemas.microsoft.com/office/drawing/2014/main" id="{A64A4B67-409D-4208-906B-DCBE7861669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65" name="Arc 39">
                <a:extLst>
                  <a:ext uri="{FF2B5EF4-FFF2-40B4-BE49-F238E27FC236}">
                    <a16:creationId xmlns:a16="http://schemas.microsoft.com/office/drawing/2014/main" id="{432F22D4-8614-4B11-A7CE-977E19115605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0D40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06" name="MoonLegend2">
              <a:extLst>
                <a:ext uri="{FF2B5EF4-FFF2-40B4-BE49-F238E27FC236}">
                  <a16:creationId xmlns:a16="http://schemas.microsoft.com/office/drawing/2014/main" id="{341E0ABE-78F9-4703-B875-5F848FAA5F6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62" name="Oval 41">
                <a:extLst>
                  <a:ext uri="{FF2B5EF4-FFF2-40B4-BE49-F238E27FC236}">
                    <a16:creationId xmlns:a16="http://schemas.microsoft.com/office/drawing/2014/main" id="{6D49FD37-5960-4AAE-9CD4-46766F74704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63" name="Arc 42">
                <a:extLst>
                  <a:ext uri="{FF2B5EF4-FFF2-40B4-BE49-F238E27FC236}">
                    <a16:creationId xmlns:a16="http://schemas.microsoft.com/office/drawing/2014/main" id="{1DC626E1-90DA-4F0E-BD7D-C9C4F7FA287F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0D40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07" name="MoonLegend4">
              <a:extLst>
                <a:ext uri="{FF2B5EF4-FFF2-40B4-BE49-F238E27FC236}">
                  <a16:creationId xmlns:a16="http://schemas.microsoft.com/office/drawing/2014/main" id="{56F66714-4CF0-4E82-99F4-E4DF559D56C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60" name="Oval 47">
                <a:extLst>
                  <a:ext uri="{FF2B5EF4-FFF2-40B4-BE49-F238E27FC236}">
                    <a16:creationId xmlns:a16="http://schemas.microsoft.com/office/drawing/2014/main" id="{283049F2-B359-4AC2-BD07-0016597D24C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61" name="Arc 48">
                <a:extLst>
                  <a:ext uri="{FF2B5EF4-FFF2-40B4-BE49-F238E27FC236}">
                    <a16:creationId xmlns:a16="http://schemas.microsoft.com/office/drawing/2014/main" id="{6E1879E5-F86D-4196-B5E0-0591FC08FF43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0D40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12" name="MoonLegend5">
              <a:extLst>
                <a:ext uri="{FF2B5EF4-FFF2-40B4-BE49-F238E27FC236}">
                  <a16:creationId xmlns:a16="http://schemas.microsoft.com/office/drawing/2014/main" id="{3AB58AD0-F400-4E67-A3C4-C3AEC77B789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58" name="Oval 50">
                <a:extLst>
                  <a:ext uri="{FF2B5EF4-FFF2-40B4-BE49-F238E27FC236}">
                    <a16:creationId xmlns:a16="http://schemas.microsoft.com/office/drawing/2014/main" id="{7D0BD859-886A-435B-8351-55523200DC8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9" name="Oval 51">
                <a:extLst>
                  <a:ext uri="{FF2B5EF4-FFF2-40B4-BE49-F238E27FC236}">
                    <a16:creationId xmlns:a16="http://schemas.microsoft.com/office/drawing/2014/main" id="{F61A0703-EE33-4394-9860-CEDC1CECFDA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D40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</p:grpSp>
        <p:sp>
          <p:nvSpPr>
            <p:cNvPr id="150" name="Legend1">
              <a:extLst>
                <a:ext uri="{FF2B5EF4-FFF2-40B4-BE49-F238E27FC236}">
                  <a16:creationId xmlns:a16="http://schemas.microsoft.com/office/drawing/2014/main" id="{0DB0EFEB-8498-4E58-9711-0647C320BA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51" name="Legend2">
              <a:extLst>
                <a:ext uri="{FF2B5EF4-FFF2-40B4-BE49-F238E27FC236}">
                  <a16:creationId xmlns:a16="http://schemas.microsoft.com/office/drawing/2014/main" id="{E0E69328-68E8-48A8-BA50-389CF792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52" name="Legend3">
              <a:extLst>
                <a:ext uri="{FF2B5EF4-FFF2-40B4-BE49-F238E27FC236}">
                  <a16:creationId xmlns:a16="http://schemas.microsoft.com/office/drawing/2014/main" id="{23FFB7E6-2148-4F7D-8D6B-D7B0328C8AE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53" name="Legend4">
              <a:extLst>
                <a:ext uri="{FF2B5EF4-FFF2-40B4-BE49-F238E27FC236}">
                  <a16:creationId xmlns:a16="http://schemas.microsoft.com/office/drawing/2014/main" id="{2B20045F-AD8B-400F-BC8E-6120D380B9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54" name="Legend5">
              <a:extLst>
                <a:ext uri="{FF2B5EF4-FFF2-40B4-BE49-F238E27FC236}">
                  <a16:creationId xmlns:a16="http://schemas.microsoft.com/office/drawing/2014/main" id="{3E11B994-B418-41EF-AED8-4FCB5B085F2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grpSp>
          <p:nvGrpSpPr>
            <p:cNvPr id="155" name="MoonLegend3">
              <a:extLst>
                <a:ext uri="{FF2B5EF4-FFF2-40B4-BE49-F238E27FC236}">
                  <a16:creationId xmlns:a16="http://schemas.microsoft.com/office/drawing/2014/main" id="{11F36171-C8F9-44BA-82CF-6E783564D2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A2408FFE-C82E-472A-892F-C5C0581AFD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0470043B-DF7A-49CE-BEEC-126FE1B402EE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0D40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166" name="Moon" hidden="1">
            <a:extLst>
              <a:ext uri="{FF2B5EF4-FFF2-40B4-BE49-F238E27FC236}">
                <a16:creationId xmlns:a16="http://schemas.microsoft.com/office/drawing/2014/main" id="{730B6F2A-7178-45B9-AC76-832A248C1E92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 bwMode="gray">
          <a:xfrm>
            <a:off x="11328334" y="2420259"/>
            <a:ext cx="254066" cy="254000"/>
            <a:chOff x="762000" y="1270000"/>
            <a:chExt cx="254000" cy="254000"/>
          </a:xfrm>
        </p:grpSpPr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ADAA1916-FD15-4D18-95EA-300F5F140AD1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Arc 167">
              <a:extLst>
                <a:ext uri="{FF2B5EF4-FFF2-40B4-BE49-F238E27FC236}">
                  <a16:creationId xmlns:a16="http://schemas.microsoft.com/office/drawing/2014/main" id="{5BA95C87-C554-4CF6-8F4E-C5DD023FCFFC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n-lt"/>
              </a:endParaRPr>
            </a:p>
          </p:txBody>
        </p:sp>
      </p:grpSp>
      <p:grpSp>
        <p:nvGrpSpPr>
          <p:cNvPr id="113" name="SplitFlow" hidden="1">
            <a:extLst>
              <a:ext uri="{FF2B5EF4-FFF2-40B4-BE49-F238E27FC236}">
                <a16:creationId xmlns:a16="http://schemas.microsoft.com/office/drawing/2014/main" id="{DAE9ACD0-18BD-405A-8E4D-20D36BDA4FB0}"/>
              </a:ext>
            </a:extLst>
          </p:cNvPr>
          <p:cNvGrpSpPr>
            <a:grpSpLocks/>
          </p:cNvGrpSpPr>
          <p:nvPr userDrawn="1">
            <p:custDataLst>
              <p:tags r:id="rId18"/>
            </p:custDataLst>
          </p:nvPr>
        </p:nvGrpSpPr>
        <p:grpSpPr bwMode="gray">
          <a:xfrm>
            <a:off x="3953713" y="3395577"/>
            <a:ext cx="1829276" cy="914400"/>
            <a:chOff x="1003298" y="1257300"/>
            <a:chExt cx="1828804" cy="914400"/>
          </a:xfrm>
        </p:grpSpPr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8DB29E77-7C19-4263-AAD5-BBF0EF0DBE8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003298" y="1257300"/>
              <a:ext cx="1828804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1"/>
                <a:gd name="connsiteY0" fmla="*/ 0 h 457200"/>
                <a:gd name="connsiteX1" fmla="*/ 1664209 w 1828801"/>
                <a:gd name="connsiteY1" fmla="*/ 0 h 457200"/>
                <a:gd name="connsiteX2" fmla="*/ 1828801 w 1828801"/>
                <a:gd name="connsiteY2" fmla="*/ 457200 h 457200"/>
                <a:gd name="connsiteX3" fmla="*/ 1 w 1828801"/>
                <a:gd name="connsiteY3" fmla="*/ 457200 h 457200"/>
                <a:gd name="connsiteX0" fmla="*/ 0 w 1828801"/>
                <a:gd name="connsiteY0" fmla="*/ 0 h 457200"/>
                <a:gd name="connsiteX1" fmla="*/ 1697128 w 1828801"/>
                <a:gd name="connsiteY1" fmla="*/ 0 h 457200"/>
                <a:gd name="connsiteX2" fmla="*/ 1828801 w 1828801"/>
                <a:gd name="connsiteY2" fmla="*/ 457200 h 457200"/>
                <a:gd name="connsiteX3" fmla="*/ 1 w 1828801"/>
                <a:gd name="connsiteY3" fmla="*/ 457200 h 457200"/>
                <a:gd name="connsiteX0" fmla="*/ 0 w 1828802"/>
                <a:gd name="connsiteY0" fmla="*/ 0 h 457200"/>
                <a:gd name="connsiteX1" fmla="*/ 1697128 w 1828802"/>
                <a:gd name="connsiteY1" fmla="*/ 0 h 457200"/>
                <a:gd name="connsiteX2" fmla="*/ 1828802 w 1828802"/>
                <a:gd name="connsiteY2" fmla="*/ 457200 h 457200"/>
                <a:gd name="connsiteX3" fmla="*/ 1 w 1828802"/>
                <a:gd name="connsiteY3" fmla="*/ 457200 h 457200"/>
                <a:gd name="connsiteX0" fmla="*/ 0 w 1828802"/>
                <a:gd name="connsiteY0" fmla="*/ 0 h 457200"/>
                <a:gd name="connsiteX1" fmla="*/ 1697128 w 1828802"/>
                <a:gd name="connsiteY1" fmla="*/ 0 h 457200"/>
                <a:gd name="connsiteX2" fmla="*/ 1828802 w 1828802"/>
                <a:gd name="connsiteY2" fmla="*/ 457200 h 457200"/>
                <a:gd name="connsiteX3" fmla="*/ 131674 w 1828802"/>
                <a:gd name="connsiteY3" fmla="*/ 457200 h 457200"/>
                <a:gd name="connsiteX0" fmla="*/ 0 w 1828802"/>
                <a:gd name="connsiteY0" fmla="*/ 0 h 457200"/>
                <a:gd name="connsiteX1" fmla="*/ 1697128 w 1828802"/>
                <a:gd name="connsiteY1" fmla="*/ 0 h 457200"/>
                <a:gd name="connsiteX2" fmla="*/ 1828802 w 1828802"/>
                <a:gd name="connsiteY2" fmla="*/ 457200 h 457200"/>
                <a:gd name="connsiteX3" fmla="*/ 131674 w 1828802"/>
                <a:gd name="connsiteY3" fmla="*/ 457200 h 457200"/>
                <a:gd name="connsiteX0" fmla="*/ 0 w 1828802"/>
                <a:gd name="connsiteY0" fmla="*/ 0 h 457200"/>
                <a:gd name="connsiteX1" fmla="*/ 1664210 w 1828802"/>
                <a:gd name="connsiteY1" fmla="*/ 0 h 457200"/>
                <a:gd name="connsiteX2" fmla="*/ 1828802 w 1828802"/>
                <a:gd name="connsiteY2" fmla="*/ 457200 h 457200"/>
                <a:gd name="connsiteX3" fmla="*/ 131674 w 1828802"/>
                <a:gd name="connsiteY3" fmla="*/ 457200 h 457200"/>
                <a:gd name="connsiteX0" fmla="*/ 0 w 1828802"/>
                <a:gd name="connsiteY0" fmla="*/ 0 h 457200"/>
                <a:gd name="connsiteX1" fmla="*/ 1664210 w 1828802"/>
                <a:gd name="connsiteY1" fmla="*/ 0 h 457200"/>
                <a:gd name="connsiteX2" fmla="*/ 1828802 w 1828802"/>
                <a:gd name="connsiteY2" fmla="*/ 457200 h 457200"/>
                <a:gd name="connsiteX3" fmla="*/ 131674 w 1828802"/>
                <a:gd name="connsiteY3" fmla="*/ 457200 h 457200"/>
                <a:gd name="connsiteX0" fmla="*/ 0 w 1828802"/>
                <a:gd name="connsiteY0" fmla="*/ 0 h 457200"/>
                <a:gd name="connsiteX1" fmla="*/ 1664210 w 1828802"/>
                <a:gd name="connsiteY1" fmla="*/ 0 h 457200"/>
                <a:gd name="connsiteX2" fmla="*/ 1828802 w 1828802"/>
                <a:gd name="connsiteY2" fmla="*/ 457200 h 457200"/>
                <a:gd name="connsiteX3" fmla="*/ 164592 w 1828802"/>
                <a:gd name="connsiteY3" fmla="*/ 457200 h 457200"/>
                <a:gd name="connsiteX0" fmla="*/ 0 w 1828803"/>
                <a:gd name="connsiteY0" fmla="*/ 0 h 457200"/>
                <a:gd name="connsiteX1" fmla="*/ 1664211 w 1828803"/>
                <a:gd name="connsiteY1" fmla="*/ 0 h 457200"/>
                <a:gd name="connsiteX2" fmla="*/ 1828803 w 1828803"/>
                <a:gd name="connsiteY2" fmla="*/ 457200 h 457200"/>
                <a:gd name="connsiteX3" fmla="*/ 164593 w 1828803"/>
                <a:gd name="connsiteY3" fmla="*/ 457200 h 457200"/>
                <a:gd name="connsiteX0" fmla="*/ 0 w 1828803"/>
                <a:gd name="connsiteY0" fmla="*/ 0 h 457200"/>
                <a:gd name="connsiteX1" fmla="*/ 1664212 w 1828803"/>
                <a:gd name="connsiteY1" fmla="*/ 0 h 457200"/>
                <a:gd name="connsiteX2" fmla="*/ 1828803 w 1828803"/>
                <a:gd name="connsiteY2" fmla="*/ 457200 h 457200"/>
                <a:gd name="connsiteX3" fmla="*/ 164593 w 1828803"/>
                <a:gd name="connsiteY3" fmla="*/ 457200 h 457200"/>
                <a:gd name="connsiteX0" fmla="*/ 0 w 1828804"/>
                <a:gd name="connsiteY0" fmla="*/ 0 h 457200"/>
                <a:gd name="connsiteX1" fmla="*/ 1664212 w 1828804"/>
                <a:gd name="connsiteY1" fmla="*/ 0 h 457200"/>
                <a:gd name="connsiteX2" fmla="*/ 1828804 w 1828804"/>
                <a:gd name="connsiteY2" fmla="*/ 457200 h 457200"/>
                <a:gd name="connsiteX3" fmla="*/ 164593 w 1828804"/>
                <a:gd name="connsiteY3" fmla="*/ 457200 h 457200"/>
                <a:gd name="connsiteX0" fmla="*/ 0 w 1828804"/>
                <a:gd name="connsiteY0" fmla="*/ 0 h 457200"/>
                <a:gd name="connsiteX1" fmla="*/ 1664212 w 1828804"/>
                <a:gd name="connsiteY1" fmla="*/ 0 h 457200"/>
                <a:gd name="connsiteX2" fmla="*/ 1828804 w 1828804"/>
                <a:gd name="connsiteY2" fmla="*/ 457200 h 457200"/>
                <a:gd name="connsiteX3" fmla="*/ 0 w 1828804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4" h="457200">
                  <a:moveTo>
                    <a:pt x="0" y="0"/>
                  </a:moveTo>
                  <a:lnTo>
                    <a:pt x="1664212" y="0"/>
                  </a:lnTo>
                  <a:lnTo>
                    <a:pt x="1828804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23038F2-F472-4A50-A4EB-459EB326C243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066798" y="1314450"/>
              <a:ext cx="1600711" cy="34237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72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54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5760" lvl="2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548640" lvl="3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31520" lvl="4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5pPr>
              <a:lvl6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de-DE" b="1" dirty="0"/>
                <a:t>Text</a:t>
              </a: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D42C1EB-4340-443C-B175-AE72B466F2B6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1003298" y="1714500"/>
              <a:ext cx="1828803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1828801 w 1828801"/>
                <a:gd name="connsiteY0" fmla="*/ 0 h 457200"/>
                <a:gd name="connsiteX1" fmla="*/ 832104 w 1828801"/>
                <a:gd name="connsiteY1" fmla="*/ 457200 h 457200"/>
                <a:gd name="connsiteX2" fmla="*/ 0 w 1828801"/>
                <a:gd name="connsiteY2" fmla="*/ 457200 h 457200"/>
                <a:gd name="connsiteX3" fmla="*/ 1 w 1828801"/>
                <a:gd name="connsiteY3" fmla="*/ 0 h 457200"/>
                <a:gd name="connsiteX0" fmla="*/ 1828801 w 1828801"/>
                <a:gd name="connsiteY0" fmla="*/ 0 h 457200"/>
                <a:gd name="connsiteX1" fmla="*/ 1697127 w 1828801"/>
                <a:gd name="connsiteY1" fmla="*/ 457200 h 457200"/>
                <a:gd name="connsiteX2" fmla="*/ 0 w 1828801"/>
                <a:gd name="connsiteY2" fmla="*/ 457200 h 457200"/>
                <a:gd name="connsiteX3" fmla="*/ 1 w 1828801"/>
                <a:gd name="connsiteY3" fmla="*/ 0 h 457200"/>
                <a:gd name="connsiteX0" fmla="*/ 1828801 w 1828801"/>
                <a:gd name="connsiteY0" fmla="*/ 0 h 457200"/>
                <a:gd name="connsiteX1" fmla="*/ 1697127 w 1828801"/>
                <a:gd name="connsiteY1" fmla="*/ 457200 h 457200"/>
                <a:gd name="connsiteX2" fmla="*/ 0 w 1828801"/>
                <a:gd name="connsiteY2" fmla="*/ 457200 h 457200"/>
                <a:gd name="connsiteX3" fmla="*/ 1 w 1828801"/>
                <a:gd name="connsiteY3" fmla="*/ 0 h 457200"/>
                <a:gd name="connsiteX0" fmla="*/ 1828801 w 1828801"/>
                <a:gd name="connsiteY0" fmla="*/ 0 h 457200"/>
                <a:gd name="connsiteX1" fmla="*/ 1697127 w 1828801"/>
                <a:gd name="connsiteY1" fmla="*/ 457200 h 457200"/>
                <a:gd name="connsiteX2" fmla="*/ 0 w 1828801"/>
                <a:gd name="connsiteY2" fmla="*/ 457200 h 457200"/>
                <a:gd name="connsiteX3" fmla="*/ 131674 w 1828801"/>
                <a:gd name="connsiteY3" fmla="*/ 0 h 457200"/>
                <a:gd name="connsiteX0" fmla="*/ 1828802 w 1828802"/>
                <a:gd name="connsiteY0" fmla="*/ 0 h 457200"/>
                <a:gd name="connsiteX1" fmla="*/ 1697127 w 1828802"/>
                <a:gd name="connsiteY1" fmla="*/ 457200 h 457200"/>
                <a:gd name="connsiteX2" fmla="*/ 0 w 1828802"/>
                <a:gd name="connsiteY2" fmla="*/ 457200 h 457200"/>
                <a:gd name="connsiteX3" fmla="*/ 131674 w 1828802"/>
                <a:gd name="connsiteY3" fmla="*/ 0 h 457200"/>
                <a:gd name="connsiteX0" fmla="*/ 1828802 w 1828802"/>
                <a:gd name="connsiteY0" fmla="*/ 0 h 457200"/>
                <a:gd name="connsiteX1" fmla="*/ 1664209 w 1828802"/>
                <a:gd name="connsiteY1" fmla="*/ 457200 h 457200"/>
                <a:gd name="connsiteX2" fmla="*/ 0 w 1828802"/>
                <a:gd name="connsiteY2" fmla="*/ 457200 h 457200"/>
                <a:gd name="connsiteX3" fmla="*/ 131674 w 1828802"/>
                <a:gd name="connsiteY3" fmla="*/ 0 h 457200"/>
                <a:gd name="connsiteX0" fmla="*/ 1828803 w 1828803"/>
                <a:gd name="connsiteY0" fmla="*/ 0 h 457200"/>
                <a:gd name="connsiteX1" fmla="*/ 1664210 w 1828803"/>
                <a:gd name="connsiteY1" fmla="*/ 457200 h 457200"/>
                <a:gd name="connsiteX2" fmla="*/ 0 w 1828803"/>
                <a:gd name="connsiteY2" fmla="*/ 457200 h 457200"/>
                <a:gd name="connsiteX3" fmla="*/ 131675 w 1828803"/>
                <a:gd name="connsiteY3" fmla="*/ 0 h 457200"/>
                <a:gd name="connsiteX0" fmla="*/ 1828803 w 1828803"/>
                <a:gd name="connsiteY0" fmla="*/ 0 h 457200"/>
                <a:gd name="connsiteX1" fmla="*/ 1664210 w 1828803"/>
                <a:gd name="connsiteY1" fmla="*/ 457200 h 457200"/>
                <a:gd name="connsiteX2" fmla="*/ 0 w 1828803"/>
                <a:gd name="connsiteY2" fmla="*/ 457200 h 457200"/>
                <a:gd name="connsiteX3" fmla="*/ 164593 w 1828803"/>
                <a:gd name="connsiteY3" fmla="*/ 0 h 457200"/>
                <a:gd name="connsiteX0" fmla="*/ 1828803 w 1828803"/>
                <a:gd name="connsiteY0" fmla="*/ 0 h 457200"/>
                <a:gd name="connsiteX1" fmla="*/ 1664210 w 1828803"/>
                <a:gd name="connsiteY1" fmla="*/ 457200 h 457200"/>
                <a:gd name="connsiteX2" fmla="*/ 0 w 1828803"/>
                <a:gd name="connsiteY2" fmla="*/ 457200 h 457200"/>
                <a:gd name="connsiteX3" fmla="*/ 164593 w 1828803"/>
                <a:gd name="connsiteY3" fmla="*/ 0 h 457200"/>
                <a:gd name="connsiteX0" fmla="*/ 1828803 w 1828803"/>
                <a:gd name="connsiteY0" fmla="*/ 0 h 457200"/>
                <a:gd name="connsiteX1" fmla="*/ 1664211 w 1828803"/>
                <a:gd name="connsiteY1" fmla="*/ 457200 h 457200"/>
                <a:gd name="connsiteX2" fmla="*/ 0 w 1828803"/>
                <a:gd name="connsiteY2" fmla="*/ 457200 h 457200"/>
                <a:gd name="connsiteX3" fmla="*/ 164593 w 1828803"/>
                <a:gd name="connsiteY3" fmla="*/ 0 h 457200"/>
                <a:gd name="connsiteX0" fmla="*/ 1828803 w 1828803"/>
                <a:gd name="connsiteY0" fmla="*/ 0 h 457200"/>
                <a:gd name="connsiteX1" fmla="*/ 1664211 w 1828803"/>
                <a:gd name="connsiteY1" fmla="*/ 457200 h 457200"/>
                <a:gd name="connsiteX2" fmla="*/ 0 w 1828803"/>
                <a:gd name="connsiteY2" fmla="*/ 457200 h 457200"/>
                <a:gd name="connsiteX3" fmla="*/ 164593 w 1828803"/>
                <a:gd name="connsiteY3" fmla="*/ 0 h 457200"/>
                <a:gd name="connsiteX0" fmla="*/ 1828803 w 1828803"/>
                <a:gd name="connsiteY0" fmla="*/ 0 h 457200"/>
                <a:gd name="connsiteX1" fmla="*/ 1664211 w 1828803"/>
                <a:gd name="connsiteY1" fmla="*/ 457200 h 457200"/>
                <a:gd name="connsiteX2" fmla="*/ 0 w 1828803"/>
                <a:gd name="connsiteY2" fmla="*/ 457200 h 457200"/>
                <a:gd name="connsiteX3" fmla="*/ 0 w 1828803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3" h="457200">
                  <a:moveTo>
                    <a:pt x="1828803" y="0"/>
                  </a:moveTo>
                  <a:lnTo>
                    <a:pt x="1664211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10FFA3A3-8584-4767-9C27-09B55BC5F098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066798" y="1771650"/>
              <a:ext cx="1600711" cy="34237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72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54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5760" lvl="2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548640" lvl="3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31520" lvl="4" indent="-182880" defTabSz="913572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5pPr>
              <a:lvl6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67" indent="-132825" defTabSz="9135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de-DE" b="1"/>
                <a:t>Text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D325753B-7005-4D94-B1A9-7CE24D014491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E0AA5ED3-46AD-4F22-8568-8B195C3CA02F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A9A74293-64B2-46CF-AC81-311CC5738EB9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DF2B5875-060E-4C85-B37B-3F2650DCCBC0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65513841-65E9-4889-B041-B1AB0CC272FC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E3C2B8D8-D97E-49B4-8013-47ACC5FDAD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" b="50"/>
          <a:stretch/>
        </p:blipFill>
        <p:spPr bwMode="gray">
          <a:xfrm>
            <a:off x="623393" y="6108272"/>
            <a:ext cx="2754284" cy="633097"/>
          </a:xfrm>
          <a:prstGeom prst="rect">
            <a:avLst/>
          </a:prstGeom>
        </p:spPr>
      </p:pic>
      <p:sp>
        <p:nvSpPr>
          <p:cNvPr id="127" name="TitleTrackerAlpha" hidden="1">
            <a:extLst>
              <a:ext uri="{FF2B5EF4-FFF2-40B4-BE49-F238E27FC236}">
                <a16:creationId xmlns:a16="http://schemas.microsoft.com/office/drawing/2014/main" id="{B72A42AF-2681-44AB-A425-142238932AFD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 bwMode="gray">
          <a:xfrm>
            <a:off x="609600" y="685239"/>
            <a:ext cx="369332" cy="36933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128" name="TitleTrackerNum" hidden="1">
            <a:extLst>
              <a:ext uri="{FF2B5EF4-FFF2-40B4-BE49-F238E27FC236}">
                <a16:creationId xmlns:a16="http://schemas.microsoft.com/office/drawing/2014/main" id="{4DD5D332-53AB-4EC7-9B8D-67F9435E4C04}"/>
              </a:ext>
            </a:extLst>
          </p:cNvPr>
          <p:cNvSpPr>
            <a:spLocks noChangeAspect="1"/>
          </p:cNvSpPr>
          <p:nvPr userDrawn="1">
            <p:custDataLst>
              <p:tags r:id="rId20"/>
            </p:custDataLst>
          </p:nvPr>
        </p:nvSpPr>
        <p:spPr bwMode="gray">
          <a:xfrm>
            <a:off x="609600" y="685239"/>
            <a:ext cx="369332" cy="36933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42107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</p:sldLayoutIdLst>
  <p:hf sldNum="0" hdr="0" ftr="0" dt="0"/>
  <p:txStyles>
    <p:titleStyle>
      <a:lvl1pPr algn="l" defTabSz="913572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tabLst>
          <a:tab pos="361950" algn="l"/>
        </a:tabLst>
        <a:defRPr lang="x-none" sz="24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505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3009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513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6019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Tx/>
        <a:buNone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54" algn="l" defTabSz="9135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365760" indent="-182880" algn="l" defTabSz="9135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548640" indent="-182880" algn="l" defTabSz="9135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31520" indent="-182880" algn="l" defTabSz="9135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5pPr>
      <a:lvl6pPr marL="765067" indent="-132825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7" indent="-132825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7" indent="-132825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7" indent="-132825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505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9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4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6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5" algn="l" defTabSz="933009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156">
          <p15:clr>
            <a:srgbClr val="F26B43"/>
          </p15:clr>
        </p15:guide>
        <p15:guide id="2" pos="2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19819" y="602129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-27384"/>
            <a:ext cx="12192000" cy="1196817"/>
          </a:xfrm>
          <a:prstGeom prst="rect">
            <a:avLst/>
          </a:prstGeom>
          <a:solidFill>
            <a:srgbClr val="1E7F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066231" y="6150625"/>
            <a:ext cx="2515543" cy="527387"/>
            <a:chOff x="5525840" y="3530278"/>
            <a:chExt cx="1886657" cy="527387"/>
          </a:xfrm>
        </p:grpSpPr>
        <p:sp>
          <p:nvSpPr>
            <p:cNvPr id="10" name="TextBox 9"/>
            <p:cNvSpPr txBox="1"/>
            <p:nvPr/>
          </p:nvSpPr>
          <p:spPr>
            <a:xfrm>
              <a:off x="5540240" y="3530278"/>
              <a:ext cx="1872257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75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525840" y="3618320"/>
              <a:ext cx="1879457" cy="439345"/>
              <a:chOff x="5525840" y="3618320"/>
              <a:chExt cx="1879457" cy="439345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6494240" y="3838374"/>
                <a:ext cx="889168" cy="219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825" spc="-6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525840" y="3618320"/>
                <a:ext cx="1879457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500" b="1" cap="all" spc="-6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4" y="6108274"/>
            <a:ext cx="2754284" cy="6330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-12288" y="6021288"/>
            <a:ext cx="1220428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Segoe Condensed" panose="020B0606040200020203" pitchFamily="34" charset="0"/>
              </a:defRPr>
            </a:lvl1pPr>
          </a:lstStyle>
          <a:p>
            <a:fld id="{241EB5C9-1307-BA42-ABA2-0BC069CD8E7F}" type="datetimeFigureOut">
              <a:rPr lang="en-US" smtClean="0"/>
              <a:t>4/2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965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685800" rtl="0" eaLnBrk="1" latinLnBrk="0" hangingPunct="1">
        <a:spcBef>
          <a:spcPct val="0"/>
        </a:spcBef>
        <a:buNone/>
        <a:defRPr sz="3300" b="1" kern="1200">
          <a:solidFill>
            <a:schemeClr val="bg1"/>
          </a:solidFill>
          <a:latin typeface="Segoe Condensed" panose="020B0606040200020203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19819" y="602129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F5B0D-9654-4FEB-BAB9-5F4A9A9AF9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-27384"/>
            <a:ext cx="12192000" cy="1196817"/>
          </a:xfrm>
          <a:prstGeom prst="rect">
            <a:avLst/>
          </a:prstGeom>
          <a:solidFill>
            <a:srgbClr val="1E7F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066231" y="6150625"/>
            <a:ext cx="2515543" cy="527387"/>
            <a:chOff x="5525840" y="3530278"/>
            <a:chExt cx="1886657" cy="527387"/>
          </a:xfrm>
        </p:grpSpPr>
        <p:sp>
          <p:nvSpPr>
            <p:cNvPr id="10" name="TextBox 9"/>
            <p:cNvSpPr txBox="1"/>
            <p:nvPr/>
          </p:nvSpPr>
          <p:spPr>
            <a:xfrm>
              <a:off x="5540240" y="3530278"/>
              <a:ext cx="1872257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75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525840" y="3618320"/>
              <a:ext cx="1879457" cy="439345"/>
              <a:chOff x="5525840" y="3618320"/>
              <a:chExt cx="1879457" cy="439345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6494240" y="3838374"/>
                <a:ext cx="889168" cy="219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825" spc="-6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525840" y="3618320"/>
                <a:ext cx="1879457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500" b="1" cap="all" spc="-6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4" y="6108274"/>
            <a:ext cx="2754284" cy="6330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-12288" y="6021288"/>
            <a:ext cx="1220428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Segoe Condensed" panose="020B0606040200020203" pitchFamily="34" charset="0"/>
              </a:defRPr>
            </a:lvl1pPr>
          </a:lstStyle>
          <a:p>
            <a:fld id="{D13ED809-051C-418A-9513-F0A5C4E3CB02}" type="datetimeFigureOut">
              <a:rPr lang="en-US" smtClean="0"/>
              <a:t>4/2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5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</p:sldLayoutIdLst>
  <p:txStyles>
    <p:titleStyle>
      <a:lvl1pPr algn="l" defTabSz="685800" rtl="0" eaLnBrk="1" latinLnBrk="0" hangingPunct="1">
        <a:spcBef>
          <a:spcPct val="0"/>
        </a:spcBef>
        <a:buNone/>
        <a:defRPr sz="3300" b="1" kern="1200">
          <a:solidFill>
            <a:schemeClr val="bg1"/>
          </a:solidFill>
          <a:latin typeface="Segoe Condensed" panose="020B0606040200020203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b="1" kern="1200">
          <a:solidFill>
            <a:schemeClr val="tx1">
              <a:lumMod val="50000"/>
              <a:lumOff val="50000"/>
            </a:schemeClr>
          </a:solidFill>
          <a:latin typeface="Segoe Condensed" panose="020B0606040200020203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app.powerbi.com/reports/c1e9e067-3549-47c3-b6e2-060a855390fd/ReportSection?pbi_source=PowerPoint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C909D2-C136-47AB-A71D-196C9682B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6519" y="2541597"/>
            <a:ext cx="10581088" cy="147002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COVID-19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Situation update – 02 April 2020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34626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dirty="0"/>
              <a:t>Current Situation (As of </a:t>
            </a:r>
            <a:r>
              <a:rPr lang="en-US" dirty="0"/>
              <a:t>01 Apr</a:t>
            </a:r>
            <a:r>
              <a:rPr dirty="0"/>
              <a:t>, 18H Geneva Tim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04238" y="2640434"/>
            <a:ext cx="5150073" cy="3461656"/>
          </a:xfrm>
        </p:spPr>
        <p:txBody>
          <a:bodyPr numCol="2">
            <a:normAutofit fontScale="77500" lnSpcReduction="20000"/>
          </a:bodyPr>
          <a:lstStyle/>
          <a:p>
            <a:pPr marL="34290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10 countries with highest number of cumulative cases: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nited States of America (163199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taly (105792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pain (94417)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China (82638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Germany (67366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France (51477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ran (Islamic Republic of) (47593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 United Kingdom (25154)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Switzerland (16108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urkey (13531)</a:t>
            </a:r>
          </a:p>
          <a:p>
            <a:pPr marL="42862" indent="0">
              <a:buNone/>
            </a:pPr>
            <a:endParaRPr lang="en-US" sz="1400" b="0" dirty="0">
              <a:solidFill>
                <a:schemeClr val="tx1"/>
              </a:solidFill>
            </a:endParaRPr>
          </a:p>
          <a:p>
            <a:pPr marL="42862" indent="0">
              <a:buNone/>
            </a:pPr>
            <a:endParaRPr lang="en-US" sz="1400" b="0" dirty="0">
              <a:solidFill>
                <a:schemeClr val="tx1"/>
              </a:solidFill>
            </a:endParaRPr>
          </a:p>
          <a:p>
            <a:pPr marL="42862" indent="0">
              <a:buNone/>
            </a:pPr>
            <a:endParaRPr lang="en-US" sz="1400" b="0" dirty="0">
              <a:solidFill>
                <a:schemeClr val="tx1"/>
              </a:solidFill>
            </a:endParaRPr>
          </a:p>
          <a:p>
            <a:pPr marL="34290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10 countries with most reported number of cases in past 24 hours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nited States of America (22559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pain (9222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France (7500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Germany (5453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taly (4053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 United Kingdom (3009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ran (Islamic Republic of) (2987)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urkey (2704)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Canada (1378)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Portugal (1035)</a:t>
            </a:r>
          </a:p>
          <a:p>
            <a:pPr lvl="1"/>
            <a:endParaRPr sz="1400" b="0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76893" y="1325436"/>
            <a:ext cx="5065059" cy="1407201"/>
          </a:xfrm>
        </p:spPr>
        <p:txBody>
          <a:bodyPr>
            <a:normAutofit fontScale="77500" lnSpcReduction="20000"/>
          </a:bodyPr>
          <a:lstStyle/>
          <a:p>
            <a:pPr marL="0" lvl="0" indent="0">
              <a:spcBef>
                <a:spcPts val="3000"/>
              </a:spcBef>
              <a:buNone/>
            </a:pPr>
            <a:r>
              <a:rPr lang="en-US" sz="1900" dirty="0">
                <a:solidFill>
                  <a:schemeClr val="tx1"/>
                </a:solidFill>
              </a:rPr>
              <a:t>Between 31 Dec 2019 - 01 Apr 2020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827,419 cases </a:t>
            </a:r>
            <a:r>
              <a:rPr lang="en-US" sz="1700" b="0" dirty="0">
                <a:solidFill>
                  <a:schemeClr val="tx1"/>
                </a:solidFill>
              </a:rPr>
              <a:t>from 205 countries/states/territories and 1 international conveyance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40,777 deaths </a:t>
            </a:r>
            <a:r>
              <a:rPr lang="en-US" sz="1700" b="0" dirty="0">
                <a:solidFill>
                  <a:schemeClr val="tx1"/>
                </a:solidFill>
              </a:rPr>
              <a:t>from 127 countries/states/territories and 1 international conveyance</a:t>
            </a:r>
          </a:p>
          <a:p>
            <a:pPr lvl="1"/>
            <a:endParaRPr b="0" dirty="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3CF8C7-6D8F-47FD-A86F-1ABC913D60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8" y="1229676"/>
            <a:ext cx="7077178" cy="471811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Number of confirmed cases notified under IHR or from official government sources by WHO region, for China, and International Conveyance (Diamond Princess) as of 01 Apr 18H</a:t>
            </a:r>
          </a:p>
        </p:txBody>
      </p:sp>
      <p:pic>
        <p:nvPicPr>
          <p:cNvPr id="3" name="Picture 1" descr="_figs/epicurve_all_region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157894" y="1200908"/>
            <a:ext cx="7170663" cy="4780441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r="50580"/>
          <a:stretch/>
        </p:blipFill>
        <p:spPr>
          <a:xfrm>
            <a:off x="1690907" y="1162243"/>
            <a:ext cx="4145034" cy="4785185"/>
          </a:xfrm>
          <a:prstGeom prst="rect">
            <a:avLst/>
          </a:prstGeom>
          <a:noFill/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27A4051-4235-46B4-A6C1-F8D87FB7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T</a:t>
            </a:r>
            <a:r>
              <a:rPr lang="ja-JP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otal # of cases</a:t>
            </a:r>
            <a:r>
              <a:rPr lang="en-GB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 with  </a:t>
            </a:r>
            <a:r>
              <a:rPr lang="ja-JP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sex and age</a:t>
            </a:r>
            <a:r>
              <a:rPr lang="en-GB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 information</a:t>
            </a:r>
            <a:r>
              <a:rPr lang="en-US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 (n=159 504)</a:t>
            </a:r>
            <a:endParaRPr kumimoji="1" lang="ja-JP" altLang="en-US" sz="2250" b="1" dirty="0">
              <a:latin typeface="Segoe Condensed" panose="020B0606040200020203" pitchFamily="34" charset="0"/>
            </a:endParaRP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174AB0E7-E341-4A99-BE03-5B19E2B09D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07530" y="1474470"/>
          <a:ext cx="3324606" cy="112776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618488">
                  <a:extLst>
                    <a:ext uri="{9D8B030D-6E8A-4147-A177-3AD203B41FA5}">
                      <a16:colId xmlns:a16="http://schemas.microsoft.com/office/drawing/2014/main" val="4069498086"/>
                    </a:ext>
                  </a:extLst>
                </a:gridCol>
                <a:gridCol w="1706118">
                  <a:extLst>
                    <a:ext uri="{9D8B030D-6E8A-4147-A177-3AD203B41FA5}">
                      <a16:colId xmlns:a16="http://schemas.microsoft.com/office/drawing/2014/main" val="1046413055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Sex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 Percentage 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668565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Female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47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87739508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Male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52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7730281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Unknown 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63709371"/>
                  </a:ext>
                </a:extLst>
              </a:tr>
            </a:tbl>
          </a:graphicData>
        </a:graphic>
      </p:graphicFrame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A05BE143-C26E-4BB8-92E2-5C00FB77693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07530" y="2759964"/>
          <a:ext cx="3324606" cy="281940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618488">
                  <a:extLst>
                    <a:ext uri="{9D8B030D-6E8A-4147-A177-3AD203B41FA5}">
                      <a16:colId xmlns:a16="http://schemas.microsoft.com/office/drawing/2014/main" val="4069498086"/>
                    </a:ext>
                  </a:extLst>
                </a:gridCol>
                <a:gridCol w="1706118">
                  <a:extLst>
                    <a:ext uri="{9D8B030D-6E8A-4147-A177-3AD203B41FA5}">
                      <a16:colId xmlns:a16="http://schemas.microsoft.com/office/drawing/2014/main" val="1046413055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Age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 Percentage 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668565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0-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.0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87739508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0-1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2.9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7730281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20-2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3.4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6370937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30-3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6.2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6108840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40-4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7.0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37227236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50-5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20.7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88217877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60-6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13.5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090332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70-79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8.6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9927511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80 +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/>
                        <a:t>6.6%</a:t>
                      </a:r>
                      <a:endParaRPr kumimoji="1" lang="ja-JP" alt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898317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6353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36138-1C51-41CC-BBE2-EBB3F6293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T</a:t>
            </a:r>
            <a:r>
              <a:rPr lang="ja-JP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otal # of </a:t>
            </a:r>
            <a:r>
              <a:rPr lang="en-US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recorded </a:t>
            </a:r>
            <a:r>
              <a:rPr lang="ja-JP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deaths by sex</a:t>
            </a:r>
            <a:r>
              <a:rPr lang="en-US" altLang="ja-JP" sz="2250" b="1" dirty="0">
                <a:latin typeface="Segoe Condensed" panose="020B0606040200020203" pitchFamily="34" charset="0"/>
                <a:cs typeface="Calibri" panose="020F0502020204030204" pitchFamily="34" charset="0"/>
              </a:rPr>
              <a:t> and age group</a:t>
            </a:r>
            <a:endParaRPr lang="ja-JP" altLang="en-US" sz="2250" b="1" dirty="0">
              <a:latin typeface="Segoe Condensed" panose="020B0606040200020203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4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950DB79-EF32-4BEA-BDFF-D159A98963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142" y="1363823"/>
            <a:ext cx="6331543" cy="43437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5DD97B-7F93-480C-8815-0DF478A85352}"/>
              </a:ext>
            </a:extLst>
          </p:cNvPr>
          <p:cNvSpPr txBox="1"/>
          <p:nvPr/>
        </p:nvSpPr>
        <p:spPr>
          <a:xfrm>
            <a:off x="9500359" y="3186626"/>
            <a:ext cx="2057400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dirty="0">
                <a:solidFill>
                  <a:srgbClr val="292934"/>
                </a:solidFill>
                <a:latin typeface="Calibri"/>
              </a:rPr>
              <a:t>Female: 253 (38.1%)</a:t>
            </a:r>
          </a:p>
          <a:p>
            <a:r>
              <a:rPr lang="en-US" sz="1350" dirty="0">
                <a:solidFill>
                  <a:srgbClr val="292934"/>
                </a:solidFill>
                <a:latin typeface="Calibri"/>
                <a:ea typeface="游ゴシック"/>
              </a:rPr>
              <a:t>Male: 499 (60.2 %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401717-1FA7-42DE-ABE4-315F4362E8E8}"/>
              </a:ext>
            </a:extLst>
          </p:cNvPr>
          <p:cNvSpPr txBox="1"/>
          <p:nvPr/>
        </p:nvSpPr>
        <p:spPr>
          <a:xfrm>
            <a:off x="3800213" y="5707590"/>
            <a:ext cx="39512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292934"/>
                </a:solidFill>
                <a:latin typeface="Calibri"/>
              </a:rPr>
              <a:t>Note: Most death reports are from EURO Member States</a:t>
            </a:r>
          </a:p>
        </p:txBody>
      </p:sp>
    </p:spTree>
    <p:extLst>
      <p:ext uri="{BB962C8B-B14F-4D97-AF65-F5344CB8AC3E}">
        <p14:creationId xmlns:p14="http://schemas.microsoft.com/office/powerpoint/2010/main" val="3046162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B3AF7-7EF6-46DA-B824-2F7DDA39E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7006" y="443170"/>
            <a:ext cx="8937620" cy="442571"/>
          </a:xfrm>
        </p:spPr>
        <p:txBody>
          <a:bodyPr>
            <a:noAutofit/>
          </a:bodyPr>
          <a:lstStyle/>
          <a:p>
            <a:r>
              <a:rPr lang="en-US" sz="2800" dirty="0"/>
              <a:t>COVID-19 Updates/New technical gui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992C5B-13A4-40D7-AD25-9D3E6BAD1F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7006" y="664455"/>
            <a:ext cx="4443600" cy="5164619"/>
          </a:xfrm>
        </p:spPr>
        <p:txBody>
          <a:bodyPr>
            <a:normAutofit/>
          </a:bodyPr>
          <a:lstStyle/>
          <a:p>
            <a:pPr>
              <a:spcBef>
                <a:spcPts val="900"/>
              </a:spcBef>
            </a:pPr>
            <a:endParaRPr lang="en-US" b="1" dirty="0">
              <a:solidFill>
                <a:srgbClr val="002060"/>
              </a:solidFill>
            </a:endParaRPr>
          </a:p>
          <a:p>
            <a:pPr>
              <a:spcBef>
                <a:spcPts val="900"/>
              </a:spcBef>
            </a:pPr>
            <a:endParaRPr lang="en-US" b="1" dirty="0">
              <a:solidFill>
                <a:srgbClr val="002060"/>
              </a:solidFill>
            </a:endParaRPr>
          </a:p>
          <a:p>
            <a:pPr>
              <a:spcBef>
                <a:spcPts val="900"/>
              </a:spcBef>
            </a:pPr>
            <a:r>
              <a:rPr lang="en-US" b="1" dirty="0">
                <a:solidFill>
                  <a:srgbClr val="002060"/>
                </a:solidFill>
              </a:rPr>
              <a:t>New Guidance </a:t>
            </a:r>
          </a:p>
          <a:p>
            <a:pPr lvl="1">
              <a:spcBef>
                <a:spcPts val="900"/>
              </a:spcBef>
            </a:pPr>
            <a:r>
              <a:rPr lang="en-US" b="1" dirty="0">
                <a:solidFill>
                  <a:srgbClr val="002060"/>
                </a:solidFill>
              </a:rPr>
              <a:t>Surveillance: </a:t>
            </a:r>
            <a:r>
              <a:rPr lang="en-US" dirty="0">
                <a:solidFill>
                  <a:srgbClr val="002060"/>
                </a:solidFill>
              </a:rPr>
              <a:t>Operational considerations for surveillance of COVID-19 using GISRS</a:t>
            </a:r>
          </a:p>
          <a:p>
            <a:pPr lvl="1">
              <a:spcBef>
                <a:spcPts val="900"/>
              </a:spcBef>
            </a:pPr>
            <a:endParaRPr lang="en-US" dirty="0">
              <a:solidFill>
                <a:srgbClr val="002060"/>
              </a:solidFill>
            </a:endParaRPr>
          </a:p>
          <a:p>
            <a:pPr lvl="1">
              <a:spcBef>
                <a:spcPts val="900"/>
              </a:spcBef>
            </a:pPr>
            <a:r>
              <a:rPr lang="en-US" b="1" dirty="0">
                <a:solidFill>
                  <a:srgbClr val="002060"/>
                </a:solidFill>
              </a:rPr>
              <a:t>Clinical care: </a:t>
            </a:r>
            <a:r>
              <a:rPr lang="en-US" dirty="0">
                <a:solidFill>
                  <a:srgbClr val="002060"/>
                </a:solidFill>
              </a:rPr>
              <a:t>Severe Acute Respiratory Infections Treatment Centre: Practical manual</a:t>
            </a:r>
            <a:br>
              <a:rPr lang="en-US" dirty="0">
                <a:solidFill>
                  <a:srgbClr val="002060"/>
                </a:solidFill>
              </a:rPr>
            </a:br>
            <a:endParaRPr lang="en-US" dirty="0">
              <a:solidFill>
                <a:srgbClr val="002060"/>
              </a:solidFill>
            </a:endParaRPr>
          </a:p>
          <a:p>
            <a:pPr lvl="1">
              <a:spcBef>
                <a:spcPts val="900"/>
              </a:spcBef>
            </a:pPr>
            <a:r>
              <a:rPr lang="en-US" b="1" dirty="0">
                <a:solidFill>
                  <a:srgbClr val="002060"/>
                </a:solidFill>
              </a:rPr>
              <a:t>Logistics: </a:t>
            </a:r>
            <a:r>
              <a:rPr lang="en-US" dirty="0">
                <a:solidFill>
                  <a:srgbClr val="002060"/>
                </a:solidFill>
              </a:rPr>
              <a:t>Essential Supplies Forecasting Tool</a:t>
            </a:r>
          </a:p>
          <a:p>
            <a:pPr lvl="1">
              <a:spcBef>
                <a:spcPts val="900"/>
              </a:spcBef>
            </a:pPr>
            <a:endParaRPr lang="en-US" b="1" dirty="0">
              <a:solidFill>
                <a:srgbClr val="002060"/>
              </a:solidFill>
            </a:endParaRPr>
          </a:p>
          <a:p>
            <a:pPr lvl="1">
              <a:spcBef>
                <a:spcPts val="900"/>
              </a:spcBef>
            </a:pPr>
            <a:r>
              <a:rPr lang="en-US" b="1" dirty="0">
                <a:solidFill>
                  <a:srgbClr val="002060"/>
                </a:solidFill>
              </a:rPr>
              <a:t>Lab: </a:t>
            </a:r>
            <a:r>
              <a:rPr lang="en-US" dirty="0">
                <a:solidFill>
                  <a:srgbClr val="002060"/>
                </a:solidFill>
              </a:rPr>
              <a:t>Guidance for laboratories shipping specimens to WHO reference laboratories that provide confirmatory testing for COVID-19 virus</a:t>
            </a: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sz="2100" dirty="0">
              <a:solidFill>
                <a:srgbClr val="00206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ABB081-5B0A-4243-9CCC-D6BEFA582D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0606" y="1701800"/>
            <a:ext cx="4494020" cy="355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19ABC2-78AA-2F43-A53E-6E639EF30989}"/>
              </a:ext>
            </a:extLst>
          </p:cNvPr>
          <p:cNvSpPr/>
          <p:nvPr/>
        </p:nvSpPr>
        <p:spPr>
          <a:xfrm>
            <a:off x="6235700" y="54275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7200"/>
            <a:r>
              <a:rPr lang="en-US" sz="1200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https://</a:t>
            </a:r>
            <a:r>
              <a:rPr lang="en-US" sz="1200" dirty="0" err="1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ww.who.int</a:t>
            </a:r>
            <a:r>
              <a:rPr lang="en-US" sz="1200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/emergencies/diseases/novel-coronavirus-2019/technical-guidance</a:t>
            </a:r>
          </a:p>
        </p:txBody>
      </p:sp>
    </p:spTree>
    <p:extLst>
      <p:ext uri="{BB962C8B-B14F-4D97-AF65-F5344CB8AC3E}">
        <p14:creationId xmlns:p14="http://schemas.microsoft.com/office/powerpoint/2010/main" val="26435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B3AF7-7EF6-46DA-B824-2F7DDA39E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0"/>
            <a:ext cx="8229600" cy="1143000"/>
          </a:xfrm>
        </p:spPr>
        <p:txBody>
          <a:bodyPr>
            <a:noAutofit/>
          </a:bodyPr>
          <a:lstStyle/>
          <a:p>
            <a:r>
              <a:rPr lang="en-US" sz="2800" dirty="0"/>
              <a:t>COVID-19 New technical guidance </a:t>
            </a:r>
            <a:r>
              <a:rPr lang="en-US" sz="2000" dirty="0"/>
              <a:t>(continued) </a:t>
            </a:r>
            <a:r>
              <a:rPr lang="en-US" sz="2800" dirty="0"/>
              <a:t>and Scientific Brief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992C5B-13A4-40D7-AD25-9D3E6BAD1F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78000" y="1270003"/>
            <a:ext cx="8559800" cy="4525963"/>
          </a:xfrm>
        </p:spPr>
        <p:txBody>
          <a:bodyPr>
            <a:normAutofit fontScale="77500" lnSpcReduction="20000"/>
          </a:bodyPr>
          <a:lstStyle/>
          <a:p>
            <a:pPr marL="0" indent="0">
              <a:spcBef>
                <a:spcPts val="900"/>
              </a:spcBef>
              <a:spcAft>
                <a:spcPts val="600"/>
              </a:spcAft>
              <a:buNone/>
            </a:pPr>
            <a:r>
              <a:rPr lang="en-US" sz="2500" dirty="0">
                <a:solidFill>
                  <a:srgbClr val="002060"/>
                </a:solidFill>
              </a:rPr>
              <a:t>Additional new guidance</a:t>
            </a:r>
          </a:p>
          <a:p>
            <a:pPr>
              <a:spcBef>
                <a:spcPts val="900"/>
              </a:spcBef>
              <a:spcAft>
                <a:spcPts val="600"/>
              </a:spcAft>
            </a:pPr>
            <a:r>
              <a:rPr lang="en-US" sz="2300" b="0" dirty="0">
                <a:solidFill>
                  <a:srgbClr val="002060"/>
                </a:solidFill>
              </a:rPr>
              <a:t>Maintaining essential health services</a:t>
            </a:r>
          </a:p>
          <a:p>
            <a:pPr>
              <a:spcBef>
                <a:spcPts val="900"/>
              </a:spcBef>
              <a:spcAft>
                <a:spcPts val="600"/>
              </a:spcAft>
            </a:pPr>
            <a:r>
              <a:rPr lang="en-US" sz="2300" b="0" dirty="0">
                <a:solidFill>
                  <a:srgbClr val="002060"/>
                </a:solidFill>
              </a:rPr>
              <a:t>COVID-19: Operational guidance for maintaining essential health services during an outbreak</a:t>
            </a:r>
          </a:p>
          <a:p>
            <a:pPr>
              <a:spcBef>
                <a:spcPts val="900"/>
              </a:spcBef>
              <a:spcAft>
                <a:spcPts val="600"/>
              </a:spcAft>
            </a:pPr>
            <a:r>
              <a:rPr lang="en-US" sz="2300" b="0" dirty="0">
                <a:solidFill>
                  <a:srgbClr val="002060"/>
                </a:solidFill>
              </a:rPr>
              <a:t>Guiding principles for immunization activities during the COVID-19 pandemic</a:t>
            </a:r>
          </a:p>
          <a:p>
            <a:pPr>
              <a:spcBef>
                <a:spcPts val="900"/>
              </a:spcBef>
              <a:spcAft>
                <a:spcPts val="600"/>
              </a:spcAft>
            </a:pPr>
            <a:r>
              <a:rPr lang="en-US" sz="2300" b="0" dirty="0">
                <a:solidFill>
                  <a:srgbClr val="002060"/>
                </a:solidFill>
              </a:rPr>
              <a:t>Operational considerations for COVID-19 management in the accommodation sector (Hotels)</a:t>
            </a:r>
          </a:p>
          <a:p>
            <a:pPr>
              <a:spcAft>
                <a:spcPts val="600"/>
              </a:spcAft>
            </a:pP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cientific Briefs</a:t>
            </a: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 (New technical product)</a:t>
            </a:r>
          </a:p>
          <a:p>
            <a:pPr lvl="1">
              <a:spcAft>
                <a:spcPts val="600"/>
              </a:spcAft>
            </a:pP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Scientific summaries of available evidence on specific topics:</a:t>
            </a:r>
          </a:p>
          <a:p>
            <a:pPr lvl="2">
              <a:spcAft>
                <a:spcPts val="600"/>
              </a:spcAft>
            </a:pP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Modes of transmission of virus causing COVID-19: implications for IPC precaution recommendations</a:t>
            </a:r>
          </a:p>
          <a:p>
            <a:pPr lvl="2">
              <a:spcAft>
                <a:spcPts val="600"/>
              </a:spcAft>
            </a:pP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Off-label use of medicines for COVID-19</a:t>
            </a:r>
          </a:p>
          <a:p>
            <a:pPr lvl="2">
              <a:spcAft>
                <a:spcPts val="600"/>
              </a:spcAft>
            </a:pPr>
            <a:r>
              <a:rPr lang="en-US" sz="2300" b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Origin of SARS-CoV-2</a:t>
            </a: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sz="2500" dirty="0">
              <a:solidFill>
                <a:srgbClr val="002060"/>
              </a:solidFill>
            </a:endParaRPr>
          </a:p>
          <a:p>
            <a:pPr marL="0" indent="0">
              <a:spcBef>
                <a:spcPts val="900"/>
              </a:spcBef>
              <a:buNone/>
            </a:pP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826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61C6F-DA44-467E-A7C7-4A51E9D53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588232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eKYXyaWtGYl8oeREE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eKYXyaWtGYl8oeREE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2EmPrA0qkrvaO5t4B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2EmPrA0qkrvaO5t4B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E">
  <a:themeElements>
    <a:clrScheme name="Custom 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E" id="{E17D93E7-A4F3-4828-8FC3-8E0420159C6D}" vid="{59D0634D-DD3A-47DC-8CE6-91EB5BAD1D67}"/>
    </a:ext>
  </a:extLst>
</a:theme>
</file>

<file path=ppt/theme/theme2.xml><?xml version="1.0" encoding="utf-8"?>
<a:theme xmlns:a="http://schemas.openxmlformats.org/drawingml/2006/main" name="EN_GV0278_16x9_CF2">
  <a:themeElements>
    <a:clrScheme name="Custom">
      <a:dk1>
        <a:srgbClr val="7F7F7F"/>
      </a:dk1>
      <a:lt1>
        <a:srgbClr val="FFFFFF"/>
      </a:lt1>
      <a:dk2>
        <a:srgbClr val="1E7FB8"/>
      </a:dk2>
      <a:lt2>
        <a:srgbClr val="FFFFFF"/>
      </a:lt2>
      <a:accent1>
        <a:srgbClr val="D9D9D9"/>
      </a:accent1>
      <a:accent2>
        <a:srgbClr val="3092D3"/>
      </a:accent2>
      <a:accent3>
        <a:srgbClr val="1E7FB8"/>
      </a:accent3>
      <a:accent4>
        <a:srgbClr val="4BACC6"/>
      </a:accent4>
      <a:accent5>
        <a:srgbClr val="7F7F7F"/>
      </a:accent5>
      <a:accent6>
        <a:srgbClr val="17375E"/>
      </a:accent6>
      <a:hlink>
        <a:srgbClr val="4BACC6"/>
      </a:hlink>
      <a:folHlink>
        <a:srgbClr val="00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lIns="73152" tIns="73152" rIns="73152" bIns="73152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>
            <a:latin typeface="+mn-lt"/>
          </a:defRPr>
        </a:defPPr>
      </a:lstStyle>
    </a:txDef>
  </a:objectDefaults>
  <a:extraClrSchemeLst>
    <a:extraClrScheme>
      <a:clrScheme name="Custom">
        <a:dk1>
          <a:srgbClr val="7F7F7F"/>
        </a:dk1>
        <a:lt1>
          <a:srgbClr val="FFFFFF"/>
        </a:lt1>
        <a:dk2>
          <a:srgbClr val="1E7FB8"/>
        </a:dk2>
        <a:lt2>
          <a:srgbClr val="FFFFFF"/>
        </a:lt2>
        <a:accent1>
          <a:srgbClr val="D9D9D9"/>
        </a:accent1>
        <a:accent2>
          <a:srgbClr val="3092D3"/>
        </a:accent2>
        <a:accent3>
          <a:srgbClr val="1E7FB8"/>
        </a:accent3>
        <a:accent4>
          <a:srgbClr val="4BACC6"/>
        </a:accent4>
        <a:accent5>
          <a:srgbClr val="7F7F7F"/>
        </a:accent5>
        <a:accent6>
          <a:srgbClr val="17375E"/>
        </a:accent6>
        <a:hlink>
          <a:srgbClr val="4BACC6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57FF7D"/>
    </a:custClr>
    <a:custClr name="WHO Blue">
      <a:srgbClr val="1ABFFF"/>
    </a:custClr>
    <a:custClr name="Lilac">
      <a:srgbClr val="664DFF"/>
    </a:custClr>
    <a:custClr name="Dark Blue">
      <a:srgbClr val="0D40FF"/>
    </a:custClr>
  </a:custClrLst>
  <a:extLst>
    <a:ext uri="{05A4C25C-085E-4340-85A3-A5531E510DB2}">
      <thm15:themeFamily xmlns:thm15="http://schemas.microsoft.com/office/thememl/2012/main" name="EN_GV0278_16x9_CF2.potx" id="{79A6A227-63B2-4EBD-B583-EF5260737FE8}" vid="{E4F2A5CB-6402-43A5-8DD4-9A0BD7F9BA41}"/>
    </a:ext>
  </a:extLst>
</a:theme>
</file>

<file path=ppt/theme/theme3.xml><?xml version="1.0" encoding="utf-8"?>
<a:theme xmlns:a="http://schemas.openxmlformats.org/drawingml/2006/main" name="4_WHE">
  <a:themeElements>
    <a:clrScheme name="Custom 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VA_nCoV_Template.potx [Read-Only]" id="{C592F7FB-64F8-49AC-A10E-404D33EF60C0}" vid="{7B4E3C9D-9E4F-4EF5-A03C-CD73F1E2C1E0}"/>
    </a:ext>
  </a:extLst>
</a:theme>
</file>

<file path=ppt/theme/theme4.xml><?xml version="1.0" encoding="utf-8"?>
<a:theme xmlns:a="http://schemas.openxmlformats.org/drawingml/2006/main" name="1_WHE">
  <a:themeElements>
    <a:clrScheme name="Custom 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E" id="{E17D93E7-A4F3-4828-8FC3-8E0420159C6D}" vid="{59D0634D-DD3A-47DC-8CE6-91EB5BAD1D6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EEBBD68E01F244AB0600E33942E7E3" ma:contentTypeVersion="13" ma:contentTypeDescription="Create a new document." ma:contentTypeScope="" ma:versionID="d908620bc217a754ec6724b8f2d14a94">
  <xsd:schema xmlns:xsd="http://www.w3.org/2001/XMLSchema" xmlns:xs="http://www.w3.org/2001/XMLSchema" xmlns:p="http://schemas.microsoft.com/office/2006/metadata/properties" xmlns:ns3="85643550-333c-4e60-8ae9-ff08ec5d29b8" xmlns:ns4="1507f6c3-baf8-4cab-b374-981c9fcff662" targetNamespace="http://schemas.microsoft.com/office/2006/metadata/properties" ma:root="true" ma:fieldsID="fdb0b6ed79a54864684e52738cad8f64" ns3:_="" ns4:_="">
    <xsd:import namespace="85643550-333c-4e60-8ae9-ff08ec5d29b8"/>
    <xsd:import namespace="1507f6c3-baf8-4cab-b374-981c9fcff66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643550-333c-4e60-8ae9-ff08ec5d29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07f6c3-baf8-4cab-b374-981c9fcff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88AECD-6A34-4CED-8273-D2E5F05ACB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643550-333c-4e60-8ae9-ff08ec5d29b8"/>
    <ds:schemaRef ds:uri="1507f6c3-baf8-4cab-b374-981c9fcff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E791E9-934D-464F-8E7C-08FCB68F17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7B122A-AACA-4F87-8257-D81C92D96DBB}">
  <ds:schemaRefs>
    <ds:schemaRef ds:uri="85643550-333c-4e60-8ae9-ff08ec5d29b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507f6c3-baf8-4cab-b374-981c9fcff662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51</TotalTime>
  <Words>454</Words>
  <Application>Microsoft Office PowerPoint</Application>
  <PresentationFormat>Widescreen</PresentationFormat>
  <Paragraphs>9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ＭＳ Ｐゴシック</vt:lpstr>
      <vt:lpstr>游ゴシック</vt:lpstr>
      <vt:lpstr>Arial</vt:lpstr>
      <vt:lpstr>Calibri</vt:lpstr>
      <vt:lpstr>Corbel</vt:lpstr>
      <vt:lpstr>Lato Heavy</vt:lpstr>
      <vt:lpstr>Leelawadee</vt:lpstr>
      <vt:lpstr>Segoe Condensed</vt:lpstr>
      <vt:lpstr>Segoe UI</vt:lpstr>
      <vt:lpstr>Segoe UI Historic</vt:lpstr>
      <vt:lpstr>Wingdings</vt:lpstr>
      <vt:lpstr>WHE</vt:lpstr>
      <vt:lpstr>EN_GV0278_16x9_CF2</vt:lpstr>
      <vt:lpstr>4_WHE</vt:lpstr>
      <vt:lpstr>1_WHE</vt:lpstr>
      <vt:lpstr>think-cell Slide</vt:lpstr>
      <vt:lpstr>COVID-19 Situation update – 02 April 2020</vt:lpstr>
      <vt:lpstr>Current Situation (As of 01 Apr, 18H Geneva Time)</vt:lpstr>
      <vt:lpstr>Number of confirmed cases notified under IHR or from official government sources by WHO region, for China, and International Conveyance (Diamond Princess) as of 01 Apr 18H</vt:lpstr>
      <vt:lpstr>Total # of cases with  sex and age information (n=159 504)</vt:lpstr>
      <vt:lpstr>Total # of recorded deaths by sex and age group</vt:lpstr>
      <vt:lpstr>COVID-19 Updates/New technical guidance</vt:lpstr>
      <vt:lpstr>COVID-19 New technical guidance (continued) and Scientific Brief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-SHORBAJI, Farah</dc:creator>
  <cp:lastModifiedBy>MILAD, Laila Christine</cp:lastModifiedBy>
  <cp:revision>36</cp:revision>
  <dcterms:created xsi:type="dcterms:W3CDTF">2020-03-30T09:57:12Z</dcterms:created>
  <dcterms:modified xsi:type="dcterms:W3CDTF">2020-04-02T08:3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EEBBD68E01F244AB0600E33942E7E3</vt:lpwstr>
  </property>
</Properties>
</file>